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9.xml" ContentType="application/vnd.openxmlformats-officedocument.presentationml.notesSlide+xml"/>
  <Override PartName="/ppt/comments/modernComment_1DE_1CDCA18F.xml" ContentType="application/vnd.ms-powerpoint.comment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47"/>
  </p:notesMasterIdLst>
  <p:sldIdLst>
    <p:sldId id="420" r:id="rId5"/>
    <p:sldId id="416" r:id="rId6"/>
    <p:sldId id="419" r:id="rId7"/>
    <p:sldId id="470" r:id="rId8"/>
    <p:sldId id="471" r:id="rId9"/>
    <p:sldId id="437" r:id="rId10"/>
    <p:sldId id="477" r:id="rId11"/>
    <p:sldId id="480" r:id="rId12"/>
    <p:sldId id="421" r:id="rId13"/>
    <p:sldId id="452" r:id="rId14"/>
    <p:sldId id="453" r:id="rId15"/>
    <p:sldId id="339" r:id="rId16"/>
    <p:sldId id="454" r:id="rId17"/>
    <p:sldId id="456" r:id="rId18"/>
    <p:sldId id="459" r:id="rId19"/>
    <p:sldId id="458" r:id="rId20"/>
    <p:sldId id="461" r:id="rId21"/>
    <p:sldId id="463" r:id="rId22"/>
    <p:sldId id="483" r:id="rId23"/>
    <p:sldId id="484" r:id="rId24"/>
    <p:sldId id="307" r:id="rId25"/>
    <p:sldId id="389" r:id="rId26"/>
    <p:sldId id="468" r:id="rId27"/>
    <p:sldId id="478" r:id="rId28"/>
    <p:sldId id="292" r:id="rId29"/>
    <p:sldId id="481" r:id="rId30"/>
    <p:sldId id="475" r:id="rId31"/>
    <p:sldId id="488" r:id="rId32"/>
    <p:sldId id="485" r:id="rId33"/>
    <p:sldId id="487" r:id="rId34"/>
    <p:sldId id="486" r:id="rId35"/>
    <p:sldId id="390" r:id="rId36"/>
    <p:sldId id="392" r:id="rId37"/>
    <p:sldId id="391" r:id="rId38"/>
    <p:sldId id="394" r:id="rId39"/>
    <p:sldId id="465" r:id="rId40"/>
    <p:sldId id="355" r:id="rId41"/>
    <p:sldId id="358" r:id="rId42"/>
    <p:sldId id="359" r:id="rId43"/>
    <p:sldId id="360" r:id="rId44"/>
    <p:sldId id="431" r:id="rId45"/>
    <p:sldId id="407" r:id="rId46"/>
  </p:sldIdLst>
  <p:sldSz cx="12192000" cy="6858000"/>
  <p:notesSz cx="6858000" cy="9144000"/>
  <p:custDataLst>
    <p:tags r:id="rId48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9630C718-76FD-474A-AA8E-212126B028B8}">
          <p14:sldIdLst>
            <p14:sldId id="420"/>
          </p14:sldIdLst>
        </p14:section>
        <p14:section name="Background" id="{BEB90DEC-F415-4F95-BF07-89428F216054}">
          <p14:sldIdLst>
            <p14:sldId id="416"/>
            <p14:sldId id="419"/>
            <p14:sldId id="470"/>
            <p14:sldId id="471"/>
            <p14:sldId id="437"/>
            <p14:sldId id="477"/>
            <p14:sldId id="480"/>
          </p14:sldIdLst>
        </p14:section>
        <p14:section name="Preliminaries" id="{8A6B9C7C-C545-4B2D-916C-EAAB65462C98}">
          <p14:sldIdLst>
            <p14:sldId id="421"/>
          </p14:sldIdLst>
        </p14:section>
        <p14:section name="CD" id="{3DC80BB4-58B1-4101-A7A6-480DF1CD0531}">
          <p14:sldIdLst>
            <p14:sldId id="452"/>
            <p14:sldId id="453"/>
            <p14:sldId id="339"/>
            <p14:sldId id="454"/>
            <p14:sldId id="456"/>
            <p14:sldId id="459"/>
            <p14:sldId id="458"/>
            <p14:sldId id="461"/>
            <p14:sldId id="463"/>
            <p14:sldId id="483"/>
            <p14:sldId id="484"/>
          </p14:sldIdLst>
        </p14:section>
        <p14:section name="Evaluation" id="{A5C05472-FC17-408B-8CCE-3C3AD9C083C4}">
          <p14:sldIdLst>
            <p14:sldId id="307"/>
            <p14:sldId id="389"/>
            <p14:sldId id="468"/>
            <p14:sldId id="478"/>
          </p14:sldIdLst>
        </p14:section>
        <p14:section name="Back-up slides" id="{ADCA76FE-DE8B-407E-B196-57A1C68FF761}">
          <p14:sldIdLst>
            <p14:sldId id="292"/>
            <p14:sldId id="481"/>
            <p14:sldId id="475"/>
            <p14:sldId id="488"/>
            <p14:sldId id="485"/>
            <p14:sldId id="487"/>
            <p14:sldId id="486"/>
            <p14:sldId id="390"/>
            <p14:sldId id="392"/>
            <p14:sldId id="391"/>
            <p14:sldId id="394"/>
          </p14:sldIdLst>
        </p14:section>
        <p14:section name="cdstream" id="{6752B39B-A7B0-403E-9392-E013494479A4}">
          <p14:sldIdLst>
            <p14:sldId id="465"/>
            <p14:sldId id="355"/>
            <p14:sldId id="358"/>
            <p14:sldId id="359"/>
            <p14:sldId id="360"/>
            <p14:sldId id="431"/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EFEE144-360E-E2C2-5BB3-B7B6DF469F98}" name="d'Hondt, Jens" initials="dJ" userId="S::j.e.dhondt@student.tue.nl::b8ea12f2-3f99-4aec-ac38-9925f81da6e6" providerId="AD"/>
  <p188:author id="{2CF29A92-C40A-D724-C505-A09BCF2D3EFD}" name="Papapetrou, Odysseas" initials="PO" userId="S::o.papapetrou@tue.nl::1458fab1-86ab-4549-bb20-5ac454f3c26d" providerId="AD"/>
  <p188:author id="{DB1E55AB-2F97-D563-8881-C07A107A6E49}" name="d'Hondt, Jens" initials="dJ" userId="S::j.e.d.hondt@tue.nl::b8ea12f2-3f99-4aec-ac38-9925f81da6e6" providerId="AD"/>
  <p188:author id="{2118A5B2-17DE-08B0-6E9D-9F25992EAB76}" name="jens.dhondt@dpasse.nl" initials="j" userId="c87336a04ef56a25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s d'Hondt" initials="Jd" lastIdx="1" clrIdx="0">
    <p:extLst>
      <p:ext uri="{19B8F6BF-5375-455C-9EA6-DF929625EA0E}">
        <p15:presenceInfo xmlns:p15="http://schemas.microsoft.com/office/powerpoint/2012/main" userId="Jens d'Hond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6C6C"/>
    <a:srgbClr val="404040"/>
    <a:srgbClr val="C81919"/>
    <a:srgbClr val="7F7F7F"/>
    <a:srgbClr val="F29696"/>
    <a:srgbClr val="F6B8B8"/>
    <a:srgbClr val="EC6A6A"/>
    <a:srgbClr val="F8C4C4"/>
    <a:srgbClr val="FFFFFF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40" autoAdjust="0"/>
    <p:restoredTop sz="96807" autoAdjust="0"/>
  </p:normalViewPr>
  <p:slideViewPr>
    <p:cSldViewPr snapToGrid="0">
      <p:cViewPr varScale="1">
        <p:scale>
          <a:sx n="109" d="100"/>
          <a:sy n="109" d="100"/>
        </p:scale>
        <p:origin x="132" y="7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81919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42220970896681448</c:v>
                </c:pt>
                <c:pt idx="1">
                  <c:v>3.3274667035757918E-2</c:v>
                </c:pt>
                <c:pt idx="2">
                  <c:v>-0.22399379849827084</c:v>
                </c:pt>
                <c:pt idx="3">
                  <c:v>-0.26286762489794774</c:v>
                </c:pt>
                <c:pt idx="4">
                  <c:v>-0.31226985483281561</c:v>
                </c:pt>
                <c:pt idx="5">
                  <c:v>5.4436756667961848E-2</c:v>
                </c:pt>
                <c:pt idx="6">
                  <c:v>-8.1707899081702492E-2</c:v>
                </c:pt>
                <c:pt idx="7">
                  <c:v>-0.29798538750876397</c:v>
                </c:pt>
                <c:pt idx="8">
                  <c:v>1.624957768547781E-3</c:v>
                </c:pt>
                <c:pt idx="9">
                  <c:v>0.24839288698229078</c:v>
                </c:pt>
                <c:pt idx="10">
                  <c:v>0.21145679593540223</c:v>
                </c:pt>
                <c:pt idx="11">
                  <c:v>0.30297064923328171</c:v>
                </c:pt>
                <c:pt idx="12">
                  <c:v>0.5237014708875416</c:v>
                </c:pt>
                <c:pt idx="13">
                  <c:v>5.0985976036208587E-2</c:v>
                </c:pt>
                <c:pt idx="14">
                  <c:v>0.1741901132393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F15-481C-A58C-9EE82B62D6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35536405395281"/>
          <c:y val="5.4621182663559135E-2"/>
          <c:w val="0.77637016692379357"/>
          <c:h val="0.70643229888111803"/>
        </c:manualLayout>
      </c:layout>
      <c:lineChart>
        <c:grouping val="standard"/>
        <c:varyColors val="0"/>
        <c:ser>
          <c:idx val="0"/>
          <c:order val="0"/>
          <c:tx>
            <c:v>mc(1,3) CD</c:v>
          </c:tx>
          <c:spPr>
            <a:ln w="28575" cap="rnd">
              <a:solidFill>
                <a:srgbClr val="F29696"/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rgbClr val="F29696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77500000000000002</c:v>
                </c:pt>
                <c:pt idx="1">
                  <c:v>3.069</c:v>
                </c:pt>
                <c:pt idx="2">
                  <c:v>26.594000000000001</c:v>
                </c:pt>
                <c:pt idx="3">
                  <c:v>218.36199999999999</c:v>
                </c:pt>
                <c:pt idx="4">
                  <c:v>4538.488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F41-4F2E-B379-886A52F64823}"/>
            </c:ext>
          </c:extLst>
        </c:ser>
        <c:ser>
          <c:idx val="1"/>
          <c:order val="1"/>
          <c:tx>
            <c:v>mc(1,3) Exh</c:v>
          </c:tx>
          <c:spPr>
            <a:ln w="28575" cap="rnd">
              <a:solidFill>
                <a:schemeClr val="bg2">
                  <a:lumMod val="9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noFill/>
              <a:ln w="9525">
                <a:solidFill>
                  <a:schemeClr val="bg2">
                    <a:lumMod val="75000"/>
                  </a:schemeClr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500000000000002</c:v>
                </c:pt>
                <c:pt idx="1">
                  <c:v>59.441000000000003</c:v>
                </c:pt>
                <c:pt idx="2">
                  <c:v>3232.50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F41-4F2E-B379-886A52F64823}"/>
            </c:ext>
          </c:extLst>
        </c:ser>
        <c:ser>
          <c:idx val="2"/>
          <c:order val="2"/>
          <c:tx>
            <c:v>mp(3) CD</c:v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C81919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60699999999999998</c:v>
                </c:pt>
                <c:pt idx="1">
                  <c:v>1.002</c:v>
                </c:pt>
                <c:pt idx="2">
                  <c:v>2.6909999999999998</c:v>
                </c:pt>
                <c:pt idx="3">
                  <c:v>26.696999999999999</c:v>
                </c:pt>
                <c:pt idx="4">
                  <c:v>278.08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D2-4A41-870A-D275D21CCE8F}"/>
            </c:ext>
          </c:extLst>
        </c:ser>
        <c:ser>
          <c:idx val="3"/>
          <c:order val="3"/>
          <c:tx>
            <c:v>mp(3) Exh</c:v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noFill/>
              <a:ln w="9525">
                <a:solidFill>
                  <a:srgbClr val="7F7F7F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2.0609999999999999</c:v>
                </c:pt>
                <c:pt idx="1">
                  <c:v>6.5309999999999997</c:v>
                </c:pt>
                <c:pt idx="2">
                  <c:v>77.018000000000001</c:v>
                </c:pt>
                <c:pt idx="3">
                  <c:v>781.25599999999997</c:v>
                </c:pt>
                <c:pt idx="4">
                  <c:v>19594.763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5D2-4A41-870A-D275D21CCE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473008"/>
        <c:axId val="72467600"/>
      </c:lineChart>
      <c:dateAx>
        <c:axId val="72473008"/>
        <c:scaling>
          <c:orientation val="minMax"/>
          <c:max val="1026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Number of vectors 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67600"/>
        <c:crossesAt val="0.1"/>
        <c:auto val="0"/>
        <c:lblOffset val="100"/>
        <c:baseTimeUnit val="days"/>
        <c:majorUnit val="2000"/>
        <c:majorTimeUnit val="days"/>
        <c:minorUnit val="10"/>
        <c:minorTimeUnit val="days"/>
      </c:dateAx>
      <c:valAx>
        <c:axId val="72467600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/>
                  <a:t>Runtime (second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7300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748282449909548"/>
          <c:y val="0.5191808058135875"/>
          <c:w val="0.60654240306279572"/>
          <c:h val="0.23536661898650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35536405395281"/>
          <c:y val="5.4621182663559135E-2"/>
          <c:w val="0.77637016692379357"/>
          <c:h val="0.70643229888111803"/>
        </c:manualLayout>
      </c:layout>
      <c:lineChart>
        <c:grouping val="standard"/>
        <c:varyColors val="0"/>
        <c:ser>
          <c:idx val="0"/>
          <c:order val="0"/>
          <c:tx>
            <c:v>mc(1,3) CD</c:v>
          </c:tx>
          <c:spPr>
            <a:ln w="28575" cap="rnd">
              <a:solidFill>
                <a:srgbClr val="F29696"/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rgbClr val="F29696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77500000000000002</c:v>
                </c:pt>
                <c:pt idx="1">
                  <c:v>3.069</c:v>
                </c:pt>
                <c:pt idx="2">
                  <c:v>26.594000000000001</c:v>
                </c:pt>
                <c:pt idx="3">
                  <c:v>218.36199999999999</c:v>
                </c:pt>
                <c:pt idx="4">
                  <c:v>4538.488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5F-4397-9ECC-E30364485EFE}"/>
            </c:ext>
          </c:extLst>
        </c:ser>
        <c:ser>
          <c:idx val="1"/>
          <c:order val="1"/>
          <c:tx>
            <c:v>mc(1,3) Exh</c:v>
          </c:tx>
          <c:spPr>
            <a:ln w="28575" cap="rnd">
              <a:solidFill>
                <a:schemeClr val="bg2">
                  <a:lumMod val="9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noFill/>
              <a:ln w="9525">
                <a:solidFill>
                  <a:schemeClr val="bg2">
                    <a:lumMod val="75000"/>
                  </a:schemeClr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500000000000002</c:v>
                </c:pt>
                <c:pt idx="1">
                  <c:v>59.441000000000003</c:v>
                </c:pt>
                <c:pt idx="2">
                  <c:v>3232.50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5F-4397-9ECC-E30364485EFE}"/>
            </c:ext>
          </c:extLst>
        </c:ser>
        <c:ser>
          <c:idx val="2"/>
          <c:order val="2"/>
          <c:tx>
            <c:v>mp(3) CD</c:v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C81919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60699999999999998</c:v>
                </c:pt>
                <c:pt idx="1">
                  <c:v>1.002</c:v>
                </c:pt>
                <c:pt idx="2">
                  <c:v>2.6909999999999998</c:v>
                </c:pt>
                <c:pt idx="3">
                  <c:v>26.696999999999999</c:v>
                </c:pt>
                <c:pt idx="4">
                  <c:v>278.08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5F-4397-9ECC-E30364485EFE}"/>
            </c:ext>
          </c:extLst>
        </c:ser>
        <c:ser>
          <c:idx val="3"/>
          <c:order val="3"/>
          <c:tx>
            <c:v>mp(3) Exh</c:v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noFill/>
              <a:ln w="9525">
                <a:solidFill>
                  <a:srgbClr val="7F7F7F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37</c:v>
                </c:pt>
                <c:pt idx="1">
                  <c:v>509</c:v>
                </c:pt>
                <c:pt idx="2">
                  <c:v>1440</c:v>
                </c:pt>
                <c:pt idx="3">
                  <c:v>3152</c:v>
                </c:pt>
                <c:pt idx="4">
                  <c:v>97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2.0609999999999999</c:v>
                </c:pt>
                <c:pt idx="1">
                  <c:v>6.5309999999999997</c:v>
                </c:pt>
                <c:pt idx="2">
                  <c:v>77.018000000000001</c:v>
                </c:pt>
                <c:pt idx="3">
                  <c:v>781.25599999999997</c:v>
                </c:pt>
                <c:pt idx="4">
                  <c:v>19594.763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5F-4397-9ECC-E30364485E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473008"/>
        <c:axId val="72467600"/>
      </c:lineChart>
      <c:dateAx>
        <c:axId val="72473008"/>
        <c:scaling>
          <c:orientation val="minMax"/>
          <c:max val="1026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Number of vectors 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67600"/>
        <c:crossesAt val="0.1"/>
        <c:auto val="0"/>
        <c:lblOffset val="100"/>
        <c:baseTimeUnit val="days"/>
        <c:majorUnit val="2000"/>
        <c:majorTimeUnit val="days"/>
        <c:minorUnit val="10"/>
        <c:minorTimeUnit val="days"/>
      </c:dateAx>
      <c:valAx>
        <c:axId val="72467600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/>
                  <a:t>Runtime (second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7247300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748282449909548"/>
          <c:y val="0.5191808058135875"/>
          <c:w val="0.60654240306279572"/>
          <c:h val="0.23536661898650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8DF-4F7D-ACA6-F355620F9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2AD-4601-B759-127BDBE05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9-4ABD-8CC8-F920E3DE7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2D-44F3-BA45-BBBC4E757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8883197371719477</c:v>
                </c:pt>
                <c:pt idx="1">
                  <c:v>-0.10679501549207204</c:v>
                </c:pt>
                <c:pt idx="2">
                  <c:v>-0.31613751745096313</c:v>
                </c:pt>
                <c:pt idx="3">
                  <c:v>-0.33434121327347543</c:v>
                </c:pt>
                <c:pt idx="4">
                  <c:v>-0.27062827789468247</c:v>
                </c:pt>
                <c:pt idx="5">
                  <c:v>-1.5776536379510677E-2</c:v>
                </c:pt>
                <c:pt idx="6">
                  <c:v>-0.12499871131458433</c:v>
                </c:pt>
                <c:pt idx="7">
                  <c:v>-0.11589686340332818</c:v>
                </c:pt>
                <c:pt idx="8">
                  <c:v>-0.12499871131458433</c:v>
                </c:pt>
                <c:pt idx="9">
                  <c:v>0.25727890095817341</c:v>
                </c:pt>
                <c:pt idx="10">
                  <c:v>0.21176966140189271</c:v>
                </c:pt>
                <c:pt idx="11">
                  <c:v>0.34829738007073474</c:v>
                </c:pt>
                <c:pt idx="12">
                  <c:v>0.53033433829585752</c:v>
                </c:pt>
                <c:pt idx="13">
                  <c:v>0.18446411766812434</c:v>
                </c:pt>
                <c:pt idx="14">
                  <c:v>0.16626042184561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9-4ABD-8CC8-F920E3DE7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40404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7.9656623484645837E-3</c:v>
                </c:pt>
                <c:pt idx="1">
                  <c:v>-0.33986826020115524</c:v>
                </c:pt>
                <c:pt idx="2">
                  <c:v>-0.32659215628704763</c:v>
                </c:pt>
                <c:pt idx="3">
                  <c:v>-0.31331605237294002</c:v>
                </c:pt>
                <c:pt idx="4">
                  <c:v>-0.28676384454472476</c:v>
                </c:pt>
                <c:pt idx="5">
                  <c:v>-4.7793974090787436E-2</c:v>
                </c:pt>
                <c:pt idx="6">
                  <c:v>3.1862649393858272E-2</c:v>
                </c:pt>
                <c:pt idx="7">
                  <c:v>1.8586545479750693E-2</c:v>
                </c:pt>
                <c:pt idx="8">
                  <c:v>1.8586545479750693E-2</c:v>
                </c:pt>
                <c:pt idx="9">
                  <c:v>3.1862649393858272E-2</c:v>
                </c:pt>
                <c:pt idx="10">
                  <c:v>0.36376524724654896</c:v>
                </c:pt>
                <c:pt idx="11">
                  <c:v>0.54963070204405584</c:v>
                </c:pt>
                <c:pt idx="12">
                  <c:v>0.39031745507476423</c:v>
                </c:pt>
                <c:pt idx="13">
                  <c:v>-7.9656623484645837E-3</c:v>
                </c:pt>
                <c:pt idx="14">
                  <c:v>-7.43461819190027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2D-44F3-BA45-BBBC4E757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12296038230831441</c:v>
                </c:pt>
                <c:pt idx="1">
                  <c:v>0.17940121353180305</c:v>
                </c:pt>
                <c:pt idx="2">
                  <c:v>-0.47571557745511811</c:v>
                </c:pt>
                <c:pt idx="3">
                  <c:v>-0.42532197814843187</c:v>
                </c:pt>
                <c:pt idx="4">
                  <c:v>-0.42532197814843187</c:v>
                </c:pt>
                <c:pt idx="5">
                  <c:v>5.8456575195756054E-2</c:v>
                </c:pt>
                <c:pt idx="6">
                  <c:v>0.4414479299265715</c:v>
                </c:pt>
                <c:pt idx="7">
                  <c:v>7.8614014918430564E-2</c:v>
                </c:pt>
                <c:pt idx="8">
                  <c:v>7.8614014918430564E-2</c:v>
                </c:pt>
                <c:pt idx="9">
                  <c:v>0.1189288943637796</c:v>
                </c:pt>
                <c:pt idx="10">
                  <c:v>0.28018841214517554</c:v>
                </c:pt>
                <c:pt idx="11">
                  <c:v>0.2398735326998265</c:v>
                </c:pt>
                <c:pt idx="12">
                  <c:v>3.8299135473081537E-2</c:v>
                </c:pt>
                <c:pt idx="13">
                  <c:v>-2.2173183694941923E-2</c:v>
                </c:pt>
                <c:pt idx="14">
                  <c:v>-4.233062341761643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89-423A-8D08-C4CE96179A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0249218119511679"/>
          <c:w val="0.96562499999999996"/>
          <c:h val="0.874070320246658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-0.23527707199226541</c:v>
                </c:pt>
                <c:pt idx="1">
                  <c:v>4.1483465295814655E-2</c:v>
                </c:pt>
                <c:pt idx="2">
                  <c:v>-0.45242432184519743</c:v>
                </c:pt>
                <c:pt idx="3">
                  <c:v>-0.43403265911711364</c:v>
                </c:pt>
                <c:pt idx="4">
                  <c:v>-0.39763034961228749</c:v>
                </c:pt>
                <c:pt idx="5">
                  <c:v>2.4385189433763301E-2</c:v>
                </c:pt>
                <c:pt idx="6">
                  <c:v>0.18080288425887919</c:v>
                </c:pt>
                <c:pt idx="7">
                  <c:v>-2.1301510786112532E-2</c:v>
                </c:pt>
                <c:pt idx="8">
                  <c:v>-2.6501840796994657E-2</c:v>
                </c:pt>
                <c:pt idx="9">
                  <c:v>0.21494587546026825</c:v>
                </c:pt>
                <c:pt idx="10">
                  <c:v>0.28107965889099013</c:v>
                </c:pt>
                <c:pt idx="11">
                  <c:v>0.33605075039726451</c:v>
                </c:pt>
                <c:pt idx="12">
                  <c:v>0.32488805733011938</c:v>
                </c:pt>
                <c:pt idx="13">
                  <c:v>9.2724731787906231E-2</c:v>
                </c:pt>
                <c:pt idx="14">
                  <c:v>7.0807143009012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A-4BC4-A505-98D71E0764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24034480"/>
        <c:axId val="1424034896"/>
      </c:lineChart>
      <c:catAx>
        <c:axId val="142403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rgbClr val="4040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896"/>
        <c:crosses val="autoZero"/>
        <c:auto val="1"/>
        <c:lblAlgn val="ctr"/>
        <c:lblOffset val="100"/>
        <c:noMultiLvlLbl val="0"/>
      </c:catAx>
      <c:valAx>
        <c:axId val="1424034896"/>
        <c:scaling>
          <c:orientation val="minMax"/>
          <c:max val="0.60000000000000009"/>
          <c:min val="-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42403448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DE_1CDCA18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E1625E4-090D-42C8-BEF0-677580F11983}" authorId="{DB1E55AB-2F97-D563-8881-C07A107A6E49}" created="2023-03-22T10:03:53.059">
    <pc:sldMkLst xmlns:pc="http://schemas.microsoft.com/office/powerpoint/2013/main/command">
      <pc:docMk/>
      <pc:sldMk cId="484221327" sldId="478"/>
    </pc:sldMkLst>
    <p188:txBody>
      <a:bodyPr/>
      <a:lstStyle/>
      <a:p>
        <a:r>
          <a:rPr lang="en-NL"/>
          <a:t>Add vision of unified/general system that takes ANY measure -- these methods are quite measure invariant. Add dynamic optimization layer to create multivariate query engin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0EDCB-C67F-48F3-86EC-AAF7E31D6DD4}" type="datetimeFigureOut">
              <a:rPr lang="en-NL" smtClean="0"/>
              <a:t>22/03/2023</a:t>
            </a:fld>
            <a:endParaRPr lang="en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E7388E-FEF5-4168-B313-E6D38CBD677B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80497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64387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1053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992515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521088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573972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20645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316192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565522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147408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81549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38322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857708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153792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08807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e hav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bounds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 on these multiple correlations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hich depend on th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pairwise correlation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of vectors in sets</a:t>
            </a:r>
          </a:p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067730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791883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580787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896222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18562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782541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090986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76572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889399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44727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e hav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bounds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 on these multiple correlations</a:t>
            </a:r>
            <a:b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which depend on the </a:t>
            </a: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pairwise correlations </a:t>
            </a: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of vectors in sets</a:t>
            </a:r>
          </a:p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3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620872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4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254031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4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92743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94491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34157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003546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12055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21525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97757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15A1E0-CB1B-4B00-9F60-8A00DE738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7D02271-9CC1-4A01-A432-58FF284DA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BA0B168-AD9D-4B3C-8AC4-4832603D0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067CCDC-58FB-4C97-A7A7-27E0008A8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45920CE-3452-423C-994F-5B9A1E4C7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58130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61ADC0-BD85-4BFF-8A4E-10C26B252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0E0E6C0-E64D-40FD-920F-EC9CF93424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6B4C144-E34B-4724-9134-70FD711157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8259927-11D0-4BA1-AB1F-B12E96CC8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B3ADC9C-17BE-4E27-BCA7-A436EF364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5154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3148E0CA-FB2D-412B-ADCB-A8A895B177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E43E286-1067-407D-BBF6-C60C9417E0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2AFA3C8-C05B-4611-A787-7A97C9A27F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E0774B4-8DA7-4FAF-A55B-4337DB9E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DE27876-3F7D-430C-B36E-A568CA7D5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01280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hidden="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-690"/>
            <a:ext cx="12192000" cy="6858000"/>
          </a:xfrm>
          <a:prstGeom prst="rect">
            <a:avLst/>
          </a:prstGeom>
          <a:solidFill>
            <a:srgbClr val="C8191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874148"/>
            <a:ext cx="9144000" cy="9382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1345598-B2C9-4FFE-8967-D41635DDF549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AutoShape 15"/>
          <p:cNvSpPr>
            <a:spLocks noChangeAspect="1" noChangeArrowheads="1" noTextEdit="1"/>
          </p:cNvSpPr>
          <p:nvPr userDrawn="1"/>
        </p:nvSpPr>
        <p:spPr bwMode="auto">
          <a:xfrm>
            <a:off x="1589" y="-690"/>
            <a:ext cx="12190412" cy="317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/>
          </p:cNvSpPr>
          <p:nvPr userDrawn="1"/>
        </p:nvSpPr>
        <p:spPr bwMode="auto">
          <a:xfrm>
            <a:off x="1589" y="-22872"/>
            <a:ext cx="12190412" cy="2961253"/>
          </a:xfrm>
          <a:custGeom>
            <a:avLst/>
            <a:gdLst>
              <a:gd name="T0" fmla="*/ 0 w 3840"/>
              <a:gd name="T1" fmla="*/ 8 h 932"/>
              <a:gd name="T2" fmla="*/ 0 w 3840"/>
              <a:gd name="T3" fmla="*/ 552 h 932"/>
              <a:gd name="T4" fmla="*/ 1040 w 3840"/>
              <a:gd name="T5" fmla="*/ 189 h 932"/>
              <a:gd name="T6" fmla="*/ 3016 w 3840"/>
              <a:gd name="T7" fmla="*/ 860 h 932"/>
              <a:gd name="T8" fmla="*/ 3840 w 3840"/>
              <a:gd name="T9" fmla="*/ 644 h 932"/>
              <a:gd name="T10" fmla="*/ 3840 w 3840"/>
              <a:gd name="T11" fmla="*/ 8 h 932"/>
              <a:gd name="T12" fmla="*/ 0 w 3840"/>
              <a:gd name="T13" fmla="*/ 8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932">
                <a:moveTo>
                  <a:pt x="0" y="8"/>
                </a:moveTo>
                <a:cubicBezTo>
                  <a:pt x="0" y="552"/>
                  <a:pt x="0" y="552"/>
                  <a:pt x="0" y="552"/>
                </a:cubicBezTo>
                <a:cubicBezTo>
                  <a:pt x="0" y="552"/>
                  <a:pt x="183" y="0"/>
                  <a:pt x="1040" y="189"/>
                </a:cubicBezTo>
                <a:cubicBezTo>
                  <a:pt x="1896" y="379"/>
                  <a:pt x="2556" y="788"/>
                  <a:pt x="3016" y="860"/>
                </a:cubicBezTo>
                <a:cubicBezTo>
                  <a:pt x="3476" y="932"/>
                  <a:pt x="3840" y="644"/>
                  <a:pt x="3840" y="644"/>
                </a:cubicBezTo>
                <a:cubicBezTo>
                  <a:pt x="3840" y="8"/>
                  <a:pt x="3840" y="8"/>
                  <a:pt x="3840" y="8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auto">
          <a:xfrm>
            <a:off x="1589" y="62686"/>
            <a:ext cx="12190412" cy="3712261"/>
          </a:xfrm>
          <a:custGeom>
            <a:avLst/>
            <a:gdLst>
              <a:gd name="T0" fmla="*/ 3840 w 3840"/>
              <a:gd name="T1" fmla="*/ 496 h 1168"/>
              <a:gd name="T2" fmla="*/ 3840 w 3840"/>
              <a:gd name="T3" fmla="*/ 772 h 1168"/>
              <a:gd name="T4" fmla="*/ 2632 w 3840"/>
              <a:gd name="T5" fmla="*/ 868 h 1168"/>
              <a:gd name="T6" fmla="*/ 600 w 3840"/>
              <a:gd name="T7" fmla="*/ 172 h 1168"/>
              <a:gd name="T8" fmla="*/ 0 w 3840"/>
              <a:gd name="T9" fmla="*/ 788 h 1168"/>
              <a:gd name="T10" fmla="*/ 0 w 3840"/>
              <a:gd name="T11" fmla="*/ 306 h 1168"/>
              <a:gd name="T12" fmla="*/ 988 w 3840"/>
              <a:gd name="T13" fmla="*/ 86 h 1168"/>
              <a:gd name="T14" fmla="*/ 3840 w 3840"/>
              <a:gd name="T15" fmla="*/ 49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40" h="1168">
                <a:moveTo>
                  <a:pt x="3840" y="496"/>
                </a:moveTo>
                <a:cubicBezTo>
                  <a:pt x="3840" y="772"/>
                  <a:pt x="3840" y="772"/>
                  <a:pt x="3840" y="772"/>
                </a:cubicBezTo>
                <a:cubicBezTo>
                  <a:pt x="3840" y="772"/>
                  <a:pt x="3324" y="1168"/>
                  <a:pt x="2632" y="868"/>
                </a:cubicBezTo>
                <a:cubicBezTo>
                  <a:pt x="1940" y="568"/>
                  <a:pt x="1136" y="80"/>
                  <a:pt x="600" y="172"/>
                </a:cubicBezTo>
                <a:cubicBezTo>
                  <a:pt x="64" y="264"/>
                  <a:pt x="0" y="788"/>
                  <a:pt x="0" y="788"/>
                </a:cubicBezTo>
                <a:cubicBezTo>
                  <a:pt x="0" y="306"/>
                  <a:pt x="0" y="306"/>
                  <a:pt x="0" y="306"/>
                </a:cubicBezTo>
                <a:cubicBezTo>
                  <a:pt x="0" y="306"/>
                  <a:pt x="264" y="0"/>
                  <a:pt x="988" y="86"/>
                </a:cubicBezTo>
                <a:cubicBezTo>
                  <a:pt x="1755" y="178"/>
                  <a:pt x="2972" y="996"/>
                  <a:pt x="3840" y="49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" name="Freeform 19"/>
          <p:cNvSpPr>
            <a:spLocks/>
          </p:cNvSpPr>
          <p:nvPr userDrawn="1"/>
        </p:nvSpPr>
        <p:spPr bwMode="auto">
          <a:xfrm>
            <a:off x="1589" y="-354013"/>
            <a:ext cx="12190412" cy="3582340"/>
          </a:xfrm>
          <a:custGeom>
            <a:avLst/>
            <a:gdLst>
              <a:gd name="T0" fmla="*/ 3840 w 3840"/>
              <a:gd name="T1" fmla="*/ 627 h 1127"/>
              <a:gd name="T2" fmla="*/ 3840 w 3840"/>
              <a:gd name="T3" fmla="*/ 784 h 1127"/>
              <a:gd name="T4" fmla="*/ 1504 w 3840"/>
              <a:gd name="T5" fmla="*/ 420 h 1127"/>
              <a:gd name="T6" fmla="*/ 0 w 3840"/>
              <a:gd name="T7" fmla="*/ 568 h 1127"/>
              <a:gd name="T8" fmla="*/ 0 w 3840"/>
              <a:gd name="T9" fmla="*/ 437 h 1127"/>
              <a:gd name="T10" fmla="*/ 988 w 3840"/>
              <a:gd name="T11" fmla="*/ 217 h 1127"/>
              <a:gd name="T12" fmla="*/ 3840 w 3840"/>
              <a:gd name="T13" fmla="*/ 627 h 1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1127">
                <a:moveTo>
                  <a:pt x="3840" y="627"/>
                </a:moveTo>
                <a:cubicBezTo>
                  <a:pt x="3840" y="784"/>
                  <a:pt x="3840" y="784"/>
                  <a:pt x="3840" y="784"/>
                </a:cubicBezTo>
                <a:cubicBezTo>
                  <a:pt x="3200" y="1108"/>
                  <a:pt x="2664" y="840"/>
                  <a:pt x="1504" y="420"/>
                </a:cubicBezTo>
                <a:cubicBezTo>
                  <a:pt x="344" y="0"/>
                  <a:pt x="0" y="568"/>
                  <a:pt x="0" y="568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264" y="131"/>
                  <a:pt x="988" y="217"/>
                </a:cubicBezTo>
                <a:cubicBezTo>
                  <a:pt x="1755" y="309"/>
                  <a:pt x="2972" y="1127"/>
                  <a:pt x="3840" y="627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38200" y="2100181"/>
            <a:ext cx="6159500" cy="2387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27" name="Freeform 23"/>
          <p:cNvSpPr>
            <a:spLocks/>
          </p:cNvSpPr>
          <p:nvPr userDrawn="1"/>
        </p:nvSpPr>
        <p:spPr bwMode="auto">
          <a:xfrm flipH="1">
            <a:off x="-1" y="4203700"/>
            <a:ext cx="12133705" cy="2654300"/>
          </a:xfrm>
          <a:custGeom>
            <a:avLst/>
            <a:gdLst>
              <a:gd name="T0" fmla="*/ 3474 w 3474"/>
              <a:gd name="T1" fmla="*/ 0 h 952"/>
              <a:gd name="T2" fmla="*/ 1634 w 3474"/>
              <a:gd name="T3" fmla="*/ 492 h 952"/>
              <a:gd name="T4" fmla="*/ 0 w 3474"/>
              <a:gd name="T5" fmla="*/ 952 h 952"/>
              <a:gd name="T6" fmla="*/ 3474 w 3474"/>
              <a:gd name="T7" fmla="*/ 952 h 952"/>
              <a:gd name="T8" fmla="*/ 3474 w 3474"/>
              <a:gd name="T9" fmla="*/ 0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74" h="952">
                <a:moveTo>
                  <a:pt x="3474" y="0"/>
                </a:moveTo>
                <a:cubicBezTo>
                  <a:pt x="3474" y="0"/>
                  <a:pt x="2710" y="580"/>
                  <a:pt x="1634" y="492"/>
                </a:cubicBezTo>
                <a:cubicBezTo>
                  <a:pt x="558" y="404"/>
                  <a:pt x="0" y="952"/>
                  <a:pt x="0" y="952"/>
                </a:cubicBezTo>
                <a:cubicBezTo>
                  <a:pt x="3474" y="952"/>
                  <a:pt x="3474" y="952"/>
                  <a:pt x="3474" y="952"/>
                </a:cubicBezTo>
                <a:lnTo>
                  <a:pt x="3474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3" name="Freeform 27"/>
          <p:cNvSpPr>
            <a:spLocks/>
          </p:cNvSpPr>
          <p:nvPr userDrawn="1"/>
        </p:nvSpPr>
        <p:spPr bwMode="auto">
          <a:xfrm>
            <a:off x="6350" y="5265822"/>
            <a:ext cx="12185650" cy="1592178"/>
          </a:xfrm>
          <a:custGeom>
            <a:avLst/>
            <a:gdLst>
              <a:gd name="T0" fmla="*/ 3840 w 3840"/>
              <a:gd name="T1" fmla="*/ 0 h 672"/>
              <a:gd name="T2" fmla="*/ 2440 w 3840"/>
              <a:gd name="T3" fmla="*/ 416 h 672"/>
              <a:gd name="T4" fmla="*/ 0 w 3840"/>
              <a:gd name="T5" fmla="*/ 388 h 672"/>
              <a:gd name="T6" fmla="*/ 0 w 3840"/>
              <a:gd name="T7" fmla="*/ 672 h 672"/>
              <a:gd name="T8" fmla="*/ 3840 w 3840"/>
              <a:gd name="T9" fmla="*/ 672 h 672"/>
              <a:gd name="T10" fmla="*/ 3840 w 3840"/>
              <a:gd name="T11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672">
                <a:moveTo>
                  <a:pt x="3840" y="0"/>
                </a:moveTo>
                <a:cubicBezTo>
                  <a:pt x="3840" y="0"/>
                  <a:pt x="3408" y="384"/>
                  <a:pt x="2440" y="416"/>
                </a:cubicBezTo>
                <a:cubicBezTo>
                  <a:pt x="1472" y="448"/>
                  <a:pt x="604" y="120"/>
                  <a:pt x="0" y="388"/>
                </a:cubicBezTo>
                <a:cubicBezTo>
                  <a:pt x="0" y="672"/>
                  <a:pt x="0" y="672"/>
                  <a:pt x="0" y="672"/>
                </a:cubicBezTo>
                <a:cubicBezTo>
                  <a:pt x="3840" y="672"/>
                  <a:pt x="3840" y="672"/>
                  <a:pt x="3840" y="672"/>
                </a:cubicBezTo>
                <a:lnTo>
                  <a:pt x="3840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34" name="Rectangle 1033"/>
          <p:cNvSpPr/>
          <p:nvPr userDrawn="1"/>
        </p:nvSpPr>
        <p:spPr>
          <a:xfrm>
            <a:off x="874713" y="4486275"/>
            <a:ext cx="576262" cy="4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240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714DB-4C2B-4562-A2D4-08BA5C914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2/03/2023</a:t>
            </a:fld>
            <a:endParaRPr lang="en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255E3A0-D3F1-45B5-B8E1-688146636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E0E002A-9279-4997-AA80-2D798B5834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02133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A6E017-3D3F-40DE-9D0F-E88B66053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771C10C-1F82-4DA2-9C29-E5DB093A9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CF2C45C-3A04-4535-96FA-83B205A269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A4F8C10-E96A-40CA-831A-E0C9DC4C6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4BAC4C-A083-47CD-BC9A-24992B362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73638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C66F01-B1CD-4243-A5AB-7DD727BD2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nl-NL" dirty="0"/>
              <a:t>Klik om stijl te bewerken</a:t>
            </a:r>
            <a:endParaRPr lang="en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D5983B4-CF9B-4486-96CB-DACE113F4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2B86958-3662-473A-84D8-34CF6D8C89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26335DA-7BC2-4000-8B4E-D0CCA99E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7C61EFF-3BA7-4FED-AF09-3165480AB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72966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2408AC-8739-4EFF-B97A-B702F025D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90267-BE8D-4A75-88A8-6C8F96CF4D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150F828-4F2F-4FDB-8255-7A43D97EBF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36B63C5-179C-4BCB-A177-737E1C4FBA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1E80544-571F-444B-B26F-C17D1421D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4F8AB5B-EC7B-4B5E-B950-EBC13FB1B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90903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846CE-ED82-4789-91DD-BBCC4EB97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8CAA096-04AC-41BE-B790-C3BDB439F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30F6AE5-99BB-4BD2-A20C-A0DCA72083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4FEEE77-FF5D-4C85-B6AD-DC15302E9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B12C641E-AAB6-4920-BCFB-9F48BF1CDE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E7EBBFCB-8536-4313-A31D-7A2CFCAF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0AFB17B8-91FF-4234-BA2D-1DEE8EC9C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CC66AC3-2989-4868-AC36-0D341650F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74644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95A91-8B03-41A3-A6DD-0BD7E5D0F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58AEC1B-2F43-4211-9C98-4C9ECD9BA6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1F116FD-F3F2-4A4C-B431-4F6A93818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8CDC4D9-23B6-4B5F-A1DF-3FEC7ED1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31639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D1B40EB-D909-44D0-9A00-472CD544E45A}"/>
              </a:ext>
            </a:extLst>
          </p:cNvPr>
          <p:cNvSpPr>
            <a:spLocks/>
          </p:cNvSpPr>
          <p:nvPr userDrawn="1"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6" name="Rechthoek 1">
            <a:extLst>
              <a:ext uri="{FF2B5EF4-FFF2-40B4-BE49-F238E27FC236}">
                <a16:creationId xmlns:a16="http://schemas.microsoft.com/office/drawing/2014/main" id="{02456AEE-B637-4E70-908A-58A7C27A026A}"/>
              </a:ext>
            </a:extLst>
          </p:cNvPr>
          <p:cNvSpPr/>
          <p:nvPr userDrawn="1"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1DBE75A3-B54F-40DB-89A0-73059A181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886" y="365125"/>
            <a:ext cx="8071714" cy="783361"/>
          </a:xfrm>
          <a:prstGeom prst="rect">
            <a:avLst/>
          </a:prstGeom>
        </p:spPr>
        <p:txBody>
          <a:bodyPr/>
          <a:lstStyle>
            <a:lvl1pPr>
              <a:defRPr lang="en-NL" sz="4400" b="1" kern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en-NL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14B0CE5-3177-432D-9536-0597811D46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353" y="1162418"/>
            <a:ext cx="7446963" cy="4176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307048A-D9BE-4A8C-9DEF-5B6B22F81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675" y="6420349"/>
            <a:ext cx="758443" cy="3651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726C6C"/>
                </a:solidFill>
                <a:latin typeface="+mn-lt"/>
              </a:defRPr>
            </a:lvl1pPr>
          </a:lstStyle>
          <a:p>
            <a:fld id="{5B8E4CE9-2DF2-4029-A14B-9C0D9FCC3E24}" type="slidenum">
              <a:rPr lang="en-NL" smtClean="0"/>
              <a:pPr/>
              <a:t>‹#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0121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C663-F4D5-426D-85C6-FE48EF82B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7D4B6D3-2E01-410C-8C2D-5C33F5786D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B3EBEC3-1978-4352-B10D-8C1AA858D4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94AD9A8-2A7D-4C4C-B9A4-C3FE1B39AB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7D56B15-8579-438A-A2A0-F5E0A45AC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31B485D-4888-4461-9CD6-271675CD0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25407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484FB2-632D-40F7-9A37-E6751A43D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DB524EF-4581-47B0-A57A-7B37CFCAD2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CC05E6E-5086-4971-BD06-D4438ED28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874C029-5907-4E4A-A7F0-175D77F38E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F5EE82E-B345-48AE-B14A-A942C733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A5C4093-9995-474F-934A-9FAB258A8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82508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1367A4-ACEE-4FC7-B593-797F1C3A6043}"/>
              </a:ext>
            </a:extLst>
          </p:cNvPr>
          <p:cNvSpPr/>
          <p:nvPr userDrawn="1"/>
        </p:nvSpPr>
        <p:spPr>
          <a:xfrm>
            <a:off x="0" y="6424862"/>
            <a:ext cx="12192000" cy="4331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840CC30-3EB8-48EC-A5BD-A1EB633820EA}"/>
              </a:ext>
            </a:extLst>
          </p:cNvPr>
          <p:cNvSpPr>
            <a:spLocks/>
          </p:cNvSpPr>
          <p:nvPr userDrawn="1"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" name="Rechthoek 1">
            <a:extLst>
              <a:ext uri="{FF2B5EF4-FFF2-40B4-BE49-F238E27FC236}">
                <a16:creationId xmlns:a16="http://schemas.microsoft.com/office/drawing/2014/main" id="{FC782467-F8F1-4E89-B5E1-1A70B0AED073}"/>
              </a:ext>
            </a:extLst>
          </p:cNvPr>
          <p:cNvSpPr/>
          <p:nvPr userDrawn="1"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15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" name="Tijdelijke aanduiding voor dianummer 6">
            <a:extLst>
              <a:ext uri="{FF2B5EF4-FFF2-40B4-BE49-F238E27FC236}">
                <a16:creationId xmlns:a16="http://schemas.microsoft.com/office/drawing/2014/main" id="{A85AE3F7-233B-44EB-8EBB-660758DD9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0925" y="6420349"/>
            <a:ext cx="758443" cy="3651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04040"/>
                </a:solidFill>
                <a:latin typeface="+mn-lt"/>
              </a:defRPr>
            </a:lvl1pPr>
          </a:lstStyle>
          <a:p>
            <a:fld id="{5B8E4CE9-2DF2-4029-A14B-9C0D9FCC3E24}" type="slidenum">
              <a:rPr lang="en-NL" smtClean="0"/>
              <a:pPr/>
              <a:t>‹#›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7770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11" Type="http://schemas.openxmlformats.org/officeDocument/2006/relationships/image" Target="../media/image400.png"/><Relationship Id="rId5" Type="http://schemas.openxmlformats.org/officeDocument/2006/relationships/chart" Target="../charts/chart3.xml"/><Relationship Id="rId10" Type="http://schemas.openxmlformats.org/officeDocument/2006/relationships/image" Target="../media/image390.png"/><Relationship Id="rId4" Type="http://schemas.openxmlformats.org/officeDocument/2006/relationships/chart" Target="../charts/chart2.xml"/><Relationship Id="rId9" Type="http://schemas.openxmlformats.org/officeDocument/2006/relationships/image" Target="../media/image38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chart" Target="../charts/chart6.xml"/><Relationship Id="rId7" Type="http://schemas.openxmlformats.org/officeDocument/2006/relationships/image" Target="../media/image4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0.png"/><Relationship Id="rId5" Type="http://schemas.openxmlformats.org/officeDocument/2006/relationships/image" Target="../media/image410.png"/><Relationship Id="rId10" Type="http://schemas.openxmlformats.org/officeDocument/2006/relationships/chart" Target="../charts/chart9.xml"/><Relationship Id="rId4" Type="http://schemas.openxmlformats.org/officeDocument/2006/relationships/chart" Target="../charts/chart7.xml"/><Relationship Id="rId9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18" Type="http://schemas.openxmlformats.org/officeDocument/2006/relationships/image" Target="../media/image59.png"/><Relationship Id="rId7" Type="http://schemas.openxmlformats.org/officeDocument/2006/relationships/image" Target="../media/image480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0.png"/><Relationship Id="rId11" Type="http://schemas.openxmlformats.org/officeDocument/2006/relationships/image" Target="../media/image52.png"/><Relationship Id="rId5" Type="http://schemas.openxmlformats.org/officeDocument/2006/relationships/image" Target="../media/image460.png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19" Type="http://schemas.openxmlformats.org/officeDocument/2006/relationships/image" Target="../media/image60.png"/><Relationship Id="rId4" Type="http://schemas.openxmlformats.org/officeDocument/2006/relationships/image" Target="../media/image450.pn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0.png"/><Relationship Id="rId5" Type="http://schemas.openxmlformats.org/officeDocument/2006/relationships/image" Target="../media/image63.png"/><Relationship Id="rId10" Type="http://schemas.openxmlformats.org/officeDocument/2006/relationships/image" Target="../media/image67.png"/><Relationship Id="rId4" Type="http://schemas.openxmlformats.org/officeDocument/2006/relationships/image" Target="../media/image62.png"/><Relationship Id="rId9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12" Type="http://schemas.openxmlformats.org/officeDocument/2006/relationships/image" Target="../media/image6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36.png"/><Relationship Id="rId15" Type="http://schemas.openxmlformats.org/officeDocument/2006/relationships/image" Target="../media/image78.png"/><Relationship Id="rId10" Type="http://schemas.openxmlformats.org/officeDocument/2006/relationships/image" Target="../media/image74.png"/><Relationship Id="rId19" Type="http://schemas.openxmlformats.org/officeDocument/2006/relationships/image" Target="../media/image82.png"/><Relationship Id="rId4" Type="http://schemas.openxmlformats.org/officeDocument/2006/relationships/image" Target="../media/image351.png"/><Relationship Id="rId9" Type="http://schemas.openxmlformats.org/officeDocument/2006/relationships/image" Target="../media/image73.png"/><Relationship Id="rId14" Type="http://schemas.openxmlformats.org/officeDocument/2006/relationships/image" Target="../media/image7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62.png"/><Relationship Id="rId18" Type="http://schemas.openxmlformats.org/officeDocument/2006/relationships/image" Target="../media/image81.png"/><Relationship Id="rId12" Type="http://schemas.openxmlformats.org/officeDocument/2006/relationships/image" Target="../media/image61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9.png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15" Type="http://schemas.openxmlformats.org/officeDocument/2006/relationships/image" Target="../media/image78.png"/><Relationship Id="rId10" Type="http://schemas.openxmlformats.org/officeDocument/2006/relationships/image" Target="../media/image74.png"/><Relationship Id="rId19" Type="http://schemas.openxmlformats.org/officeDocument/2006/relationships/image" Target="../media/image82.png"/><Relationship Id="rId4" Type="http://schemas.openxmlformats.org/officeDocument/2006/relationships/image" Target="../media/image36.png"/><Relationship Id="rId9" Type="http://schemas.openxmlformats.org/officeDocument/2006/relationships/image" Target="../media/image73.png"/><Relationship Id="rId14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63.png"/><Relationship Id="rId18" Type="http://schemas.openxmlformats.org/officeDocument/2006/relationships/image" Target="../media/image82.png"/><Relationship Id="rId3" Type="http://schemas.openxmlformats.org/officeDocument/2006/relationships/image" Target="../media/image38.png"/><Relationship Id="rId12" Type="http://schemas.openxmlformats.org/officeDocument/2006/relationships/image" Target="../media/image62.png"/><Relationship Id="rId17" Type="http://schemas.openxmlformats.org/officeDocument/2006/relationships/image" Target="../media/image81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80.pn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11" Type="http://schemas.openxmlformats.org/officeDocument/2006/relationships/image" Target="../media/image61.png"/><Relationship Id="rId5" Type="http://schemas.openxmlformats.org/officeDocument/2006/relationships/image" Target="../media/image70.png"/><Relationship Id="rId15" Type="http://schemas.openxmlformats.org/officeDocument/2006/relationships/image" Target="../media/image79.png"/><Relationship Id="rId10" Type="http://schemas.openxmlformats.org/officeDocument/2006/relationships/image" Target="../media/image75.png"/><Relationship Id="rId19" Type="http://schemas.openxmlformats.org/officeDocument/2006/relationships/image" Target="../media/image39.png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7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69.png"/><Relationship Id="rId17" Type="http://schemas.openxmlformats.org/officeDocument/2006/relationships/image" Target="../media/image85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68.png"/><Relationship Id="rId5" Type="http://schemas.openxmlformats.org/officeDocument/2006/relationships/image" Target="../media/image43.png"/><Relationship Id="rId15" Type="http://schemas.openxmlformats.org/officeDocument/2006/relationships/image" Target="../media/image84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71.png"/><Relationship Id="rId3" Type="http://schemas.openxmlformats.org/officeDocument/2006/relationships/image" Target="../media/image87.png"/><Relationship Id="rId7" Type="http://schemas.openxmlformats.org/officeDocument/2006/relationships/image" Target="../media/image45.png"/><Relationship Id="rId12" Type="http://schemas.openxmlformats.org/officeDocument/2006/relationships/image" Target="../media/image69.png"/><Relationship Id="rId17" Type="http://schemas.openxmlformats.org/officeDocument/2006/relationships/image" Target="../media/image85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8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11" Type="http://schemas.openxmlformats.org/officeDocument/2006/relationships/image" Target="../media/image68.png"/><Relationship Id="rId5" Type="http://schemas.openxmlformats.org/officeDocument/2006/relationships/image" Target="../media/image43.png"/><Relationship Id="rId15" Type="http://schemas.openxmlformats.org/officeDocument/2006/relationships/image" Target="../media/image88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0.xml"/><Relationship Id="rId4" Type="http://schemas.openxmlformats.org/officeDocument/2006/relationships/image" Target="../media/image9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1.png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png"/><Relationship Id="rId5" Type="http://schemas.openxmlformats.org/officeDocument/2006/relationships/image" Target="../media/image96.png"/><Relationship Id="rId4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microsoft.com/office/2018/10/relationships/comments" Target="../comments/modernComment_1DE_1CDCA18F.xml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1.png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0.png"/><Relationship Id="rId3" Type="http://schemas.openxmlformats.org/officeDocument/2006/relationships/image" Target="../media/image230.png"/><Relationship Id="rId7" Type="http://schemas.openxmlformats.org/officeDocument/2006/relationships/image" Target="../media/image48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2.png"/><Relationship Id="rId5" Type="http://schemas.openxmlformats.org/officeDocument/2006/relationships/image" Target="../media/image462.png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0.png"/><Relationship Id="rId7" Type="http://schemas.openxmlformats.org/officeDocument/2006/relationships/image" Target="../media/image441.png"/><Relationship Id="rId12" Type="http://schemas.openxmlformats.org/officeDocument/2006/relationships/image" Target="../media/image36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0.png"/><Relationship Id="rId11" Type="http://schemas.openxmlformats.org/officeDocument/2006/relationships/image" Target="../media/image481.png"/><Relationship Id="rId5" Type="http://schemas.openxmlformats.org/officeDocument/2006/relationships/image" Target="../media/image421.png"/><Relationship Id="rId10" Type="http://schemas.openxmlformats.org/officeDocument/2006/relationships/image" Target="../media/image471.png"/><Relationship Id="rId4" Type="http://schemas.openxmlformats.org/officeDocument/2006/relationships/image" Target="../media/image411.png"/><Relationship Id="rId9" Type="http://schemas.openxmlformats.org/officeDocument/2006/relationships/image" Target="../media/image46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png"/><Relationship Id="rId5" Type="http://schemas.openxmlformats.org/officeDocument/2006/relationships/image" Target="../media/image135.png"/><Relationship Id="rId4" Type="http://schemas.openxmlformats.org/officeDocument/2006/relationships/image" Target="../media/image10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0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0.png"/><Relationship Id="rId13" Type="http://schemas.openxmlformats.org/officeDocument/2006/relationships/image" Target="../media/image1110.png"/><Relationship Id="rId3" Type="http://schemas.openxmlformats.org/officeDocument/2006/relationships/image" Target="../media/image1010.png"/><Relationship Id="rId7" Type="http://schemas.openxmlformats.org/officeDocument/2006/relationships/image" Target="../media/image1030.png"/><Relationship Id="rId12" Type="http://schemas.openxmlformats.org/officeDocument/2006/relationships/image" Target="../media/image1100.png"/><Relationship Id="rId16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20.png"/><Relationship Id="rId11" Type="http://schemas.openxmlformats.org/officeDocument/2006/relationships/image" Target="../media/image1090.png"/><Relationship Id="rId5" Type="http://schemas.openxmlformats.org/officeDocument/2006/relationships/image" Target="../media/image1080.png"/><Relationship Id="rId15" Type="http://schemas.openxmlformats.org/officeDocument/2006/relationships/image" Target="../media/image4.png"/><Relationship Id="rId10" Type="http://schemas.openxmlformats.org/officeDocument/2006/relationships/image" Target="../media/image1050.png"/><Relationship Id="rId4" Type="http://schemas.openxmlformats.org/officeDocument/2006/relationships/image" Target="../media/image1070.png"/><Relationship Id="rId9" Type="http://schemas.openxmlformats.org/officeDocument/2006/relationships/image" Target="../media/image1040.png"/><Relationship Id="rId14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0.png"/><Relationship Id="rId18" Type="http://schemas.openxmlformats.org/officeDocument/2006/relationships/image" Target="../media/image4.png"/><Relationship Id="rId3" Type="http://schemas.openxmlformats.org/officeDocument/2006/relationships/image" Target="../media/image1070.png"/><Relationship Id="rId7" Type="http://schemas.openxmlformats.org/officeDocument/2006/relationships/image" Target="../media/image1040.png"/><Relationship Id="rId17" Type="http://schemas.openxmlformats.org/officeDocument/2006/relationships/image" Target="../media/image20.png"/><Relationship Id="rId2" Type="http://schemas.openxmlformats.org/officeDocument/2006/relationships/image" Target="../media/image1010.png"/><Relationship Id="rId16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0.png"/><Relationship Id="rId11" Type="http://schemas.openxmlformats.org/officeDocument/2006/relationships/image" Target="../media/image1110.png"/><Relationship Id="rId5" Type="http://schemas.openxmlformats.org/officeDocument/2006/relationships/image" Target="../media/image1020.png"/><Relationship Id="rId10" Type="http://schemas.openxmlformats.org/officeDocument/2006/relationships/image" Target="../media/image1100.png"/><Relationship Id="rId19" Type="http://schemas.openxmlformats.org/officeDocument/2006/relationships/image" Target="../media/image112.png"/><Relationship Id="rId4" Type="http://schemas.openxmlformats.org/officeDocument/2006/relationships/image" Target="../media/image1080.png"/><Relationship Id="rId9" Type="http://schemas.openxmlformats.org/officeDocument/2006/relationships/image" Target="../media/image109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0.png"/><Relationship Id="rId18" Type="http://schemas.openxmlformats.org/officeDocument/2006/relationships/image" Target="../media/image20.png"/><Relationship Id="rId3" Type="http://schemas.openxmlformats.org/officeDocument/2006/relationships/image" Target="../media/image1070.png"/><Relationship Id="rId7" Type="http://schemas.openxmlformats.org/officeDocument/2006/relationships/image" Target="../media/image1040.png"/><Relationship Id="rId17" Type="http://schemas.openxmlformats.org/officeDocument/2006/relationships/image" Target="../media/image113.png"/><Relationship Id="rId2" Type="http://schemas.openxmlformats.org/officeDocument/2006/relationships/image" Target="../media/image1010.png"/><Relationship Id="rId16" Type="http://schemas.openxmlformats.org/officeDocument/2006/relationships/image" Target="../media/image118.png"/><Relationship Id="rId20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0.png"/><Relationship Id="rId11" Type="http://schemas.openxmlformats.org/officeDocument/2006/relationships/image" Target="../media/image1110.png"/><Relationship Id="rId5" Type="http://schemas.openxmlformats.org/officeDocument/2006/relationships/image" Target="../media/image1020.png"/><Relationship Id="rId10" Type="http://schemas.openxmlformats.org/officeDocument/2006/relationships/image" Target="../media/image1100.png"/><Relationship Id="rId19" Type="http://schemas.openxmlformats.org/officeDocument/2006/relationships/image" Target="../media/image4.png"/><Relationship Id="rId4" Type="http://schemas.openxmlformats.org/officeDocument/2006/relationships/image" Target="../media/image1080.png"/><Relationship Id="rId9" Type="http://schemas.openxmlformats.org/officeDocument/2006/relationships/image" Target="../media/image109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0.png"/><Relationship Id="rId13" Type="http://schemas.openxmlformats.org/officeDocument/2006/relationships/image" Target="../media/image1100.png"/><Relationship Id="rId3" Type="http://schemas.openxmlformats.org/officeDocument/2006/relationships/image" Target="../media/image1010.png"/><Relationship Id="rId21" Type="http://schemas.openxmlformats.org/officeDocument/2006/relationships/image" Target="../media/image4.png"/><Relationship Id="rId7" Type="http://schemas.openxmlformats.org/officeDocument/2006/relationships/image" Target="../media/image1080.png"/><Relationship Id="rId12" Type="http://schemas.openxmlformats.org/officeDocument/2006/relationships/image" Target="../media/image1090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70.png"/><Relationship Id="rId11" Type="http://schemas.openxmlformats.org/officeDocument/2006/relationships/image" Target="../media/image1050.png"/><Relationship Id="rId10" Type="http://schemas.openxmlformats.org/officeDocument/2006/relationships/image" Target="../media/image1040.png"/><Relationship Id="rId19" Type="http://schemas.openxmlformats.org/officeDocument/2006/relationships/image" Target="../media/image120.png"/><Relationship Id="rId9" Type="http://schemas.openxmlformats.org/officeDocument/2006/relationships/image" Target="../media/image1030.png"/><Relationship Id="rId14" Type="http://schemas.openxmlformats.org/officeDocument/2006/relationships/image" Target="../media/image1110.png"/><Relationship Id="rId22" Type="http://schemas.openxmlformats.org/officeDocument/2006/relationships/image" Target="../media/image11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Relationship Id="rId9" Type="http://schemas.openxmlformats.org/officeDocument/2006/relationships/image" Target="../media/image12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0.png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0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19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8F88B133-A8DC-4B99-BE04-1C41BB0FEF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E9D08A-E1A2-4FE3-AAF6-8578B6843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6CD40364-3C7F-4FE8-AA22-3848A774DEBE}"/>
              </a:ext>
            </a:extLst>
          </p:cNvPr>
          <p:cNvSpPr txBox="1">
            <a:spLocks/>
          </p:cNvSpPr>
          <p:nvPr/>
        </p:nvSpPr>
        <p:spPr>
          <a:xfrm>
            <a:off x="755903" y="4136489"/>
            <a:ext cx="10640754" cy="77584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dirty="0"/>
              <a:t>Correlation Detective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09952183-5B03-4E16-B92C-4959593374E7}"/>
              </a:ext>
            </a:extLst>
          </p:cNvPr>
          <p:cNvSpPr txBox="1">
            <a:spLocks/>
          </p:cNvSpPr>
          <p:nvPr/>
        </p:nvSpPr>
        <p:spPr>
          <a:xfrm>
            <a:off x="1514121" y="4908248"/>
            <a:ext cx="9163757" cy="450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rgbClr val="404040"/>
                </a:solidFill>
              </a:rPr>
              <a:t>Multivariate Correlations Discovery in Static and Streaming data</a:t>
            </a:r>
          </a:p>
        </p:txBody>
      </p:sp>
      <p:pic>
        <p:nvPicPr>
          <p:cNvPr id="11" name="Picture 10" descr="Icon&#10;&#10;Description automatically generated with low confidence">
            <a:extLst>
              <a:ext uri="{FF2B5EF4-FFF2-40B4-BE49-F238E27FC236}">
                <a16:creationId xmlns:a16="http://schemas.microsoft.com/office/drawing/2014/main" id="{39DB764D-5A3A-4B38-B8CB-75AD6E284D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7" y="1056951"/>
            <a:ext cx="3427874" cy="2836567"/>
          </a:xfrm>
          <a:prstGeom prst="rect">
            <a:avLst/>
          </a:prstGeom>
        </p:spPr>
      </p:pic>
      <p:sp>
        <p:nvSpPr>
          <p:cNvPr id="17" name="Vrije vorm: vorm 42">
            <a:extLst>
              <a:ext uri="{FF2B5EF4-FFF2-40B4-BE49-F238E27FC236}">
                <a16:creationId xmlns:a16="http://schemas.microsoft.com/office/drawing/2014/main" id="{71A7B137-F119-42BE-A028-1E93EF3EBF56}"/>
              </a:ext>
            </a:extLst>
          </p:cNvPr>
          <p:cNvSpPr/>
          <p:nvPr/>
        </p:nvSpPr>
        <p:spPr>
          <a:xfrm rot="17934601">
            <a:off x="8650968" y="-3761108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Vrije vorm: vorm 42">
            <a:extLst>
              <a:ext uri="{FF2B5EF4-FFF2-40B4-BE49-F238E27FC236}">
                <a16:creationId xmlns:a16="http://schemas.microsoft.com/office/drawing/2014/main" id="{36F8E3EA-3215-4C82-B88C-4D3C67647F96}"/>
              </a:ext>
            </a:extLst>
          </p:cNvPr>
          <p:cNvSpPr/>
          <p:nvPr/>
        </p:nvSpPr>
        <p:spPr>
          <a:xfrm rot="7134601">
            <a:off x="-2603559" y="3428998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08DF2B95-3F42-4CF9-BF55-292441ED5E3B}"/>
              </a:ext>
            </a:extLst>
          </p:cNvPr>
          <p:cNvSpPr>
            <a:spLocks/>
          </p:cNvSpPr>
          <p:nvPr/>
        </p:nvSpPr>
        <p:spPr bwMode="auto">
          <a:xfrm rot="6289252">
            <a:off x="-1459115" y="304258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088FD2D-C4D1-495A-8270-EA4EF152F3DE}"/>
              </a:ext>
            </a:extLst>
          </p:cNvPr>
          <p:cNvSpPr>
            <a:spLocks/>
          </p:cNvSpPr>
          <p:nvPr/>
        </p:nvSpPr>
        <p:spPr bwMode="auto">
          <a:xfrm rot="4852469">
            <a:off x="-538259" y="2712381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F9C5E3B5-9922-4511-8EB2-0FCE532BCFE9}"/>
              </a:ext>
            </a:extLst>
          </p:cNvPr>
          <p:cNvSpPr>
            <a:spLocks/>
          </p:cNvSpPr>
          <p:nvPr/>
        </p:nvSpPr>
        <p:spPr bwMode="auto">
          <a:xfrm rot="17089252">
            <a:off x="6799949" y="-5756845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D44B0618-2F6F-4D64-A6A6-AED9033E44BD}"/>
              </a:ext>
            </a:extLst>
          </p:cNvPr>
          <p:cNvSpPr>
            <a:spLocks/>
          </p:cNvSpPr>
          <p:nvPr/>
        </p:nvSpPr>
        <p:spPr bwMode="auto">
          <a:xfrm rot="15652469">
            <a:off x="5879093" y="-542664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5" name="Afbeelding 25">
            <a:extLst>
              <a:ext uri="{FF2B5EF4-FFF2-40B4-BE49-F238E27FC236}">
                <a16:creationId xmlns:a16="http://schemas.microsoft.com/office/drawing/2014/main" id="{A52B2C2B-B753-44DA-A452-F94B50571C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30" y="254732"/>
            <a:ext cx="2697071" cy="735774"/>
          </a:xfrm>
          <a:prstGeom prst="rect">
            <a:avLst/>
          </a:prstGeom>
        </p:spPr>
      </p:pic>
      <p:sp>
        <p:nvSpPr>
          <p:cNvPr id="26" name="Subtitle 1">
            <a:extLst>
              <a:ext uri="{FF2B5EF4-FFF2-40B4-BE49-F238E27FC236}">
                <a16:creationId xmlns:a16="http://schemas.microsoft.com/office/drawing/2014/main" id="{C43C7396-8921-44C3-A34F-8FB032A1D559}"/>
              </a:ext>
            </a:extLst>
          </p:cNvPr>
          <p:cNvSpPr txBox="1">
            <a:spLocks/>
          </p:cNvSpPr>
          <p:nvPr/>
        </p:nvSpPr>
        <p:spPr>
          <a:xfrm>
            <a:off x="5808747" y="6379179"/>
            <a:ext cx="6652342" cy="450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i="1" dirty="0">
                <a:solidFill>
                  <a:srgbClr val="404040"/>
                </a:solidFill>
              </a:rPr>
              <a:t>Koen Minartz, Jens d’Hondt, Odysseas Papapetrou</a:t>
            </a:r>
          </a:p>
        </p:txBody>
      </p:sp>
    </p:spTree>
    <p:extLst>
      <p:ext uri="{BB962C8B-B14F-4D97-AF65-F5344CB8AC3E}">
        <p14:creationId xmlns:p14="http://schemas.microsoft.com/office/powerpoint/2010/main" val="2429388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0.04179 0.10301 " pathEditMode="relative" rAng="0" ptsTypes="AA">
                                      <p:cBhvr>
                                        <p:cTn id="6" dur="4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83" y="513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70833E-6 3.7037E-6 L -0.1013 -0.0838 " pathEditMode="relative" rAng="0" ptsTypes="AA">
                                      <p:cBhvr>
                                        <p:cTn id="8" dur="4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65" y="-419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4.07407E-6 L -0.0207 -0.08819 " pathEditMode="relative" rAng="0" ptsTypes="AA">
                                      <p:cBhvr>
                                        <p:cTn id="10" dur="4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2" y="-4398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repeatCount="indefinite" accel="50000" decel="50000" autoRev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6.25E-7 -2.22222E-6 L -0.0194 -0.08981 " pathEditMode="relative" rAng="0" ptsTypes="AA">
                                      <p:cBhvr>
                                        <p:cTn id="12" dur="4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7" y="-44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3" grpId="0" animBg="1"/>
      <p:bldP spid="2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EA0BF83-57B8-41F9-B9D0-232A7A3CF5FA}"/>
              </a:ext>
            </a:extLst>
          </p:cNvPr>
          <p:cNvGrpSpPr/>
          <p:nvPr/>
        </p:nvGrpSpPr>
        <p:grpSpPr>
          <a:xfrm>
            <a:off x="808048" y="4341414"/>
            <a:ext cx="2050545" cy="2050545"/>
            <a:chOff x="5665743" y="1600978"/>
            <a:chExt cx="2050545" cy="2050545"/>
          </a:xfrm>
        </p:grpSpPr>
        <p:sp>
          <p:nvSpPr>
            <p:cNvPr id="235" name="Ovaal 268">
              <a:extLst>
                <a:ext uri="{FF2B5EF4-FFF2-40B4-BE49-F238E27FC236}">
                  <a16:creationId xmlns:a16="http://schemas.microsoft.com/office/drawing/2014/main" id="{3250BA84-060D-4489-AAD5-6ED754474F04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6" name="Ovaal 268">
              <a:extLst>
                <a:ext uri="{FF2B5EF4-FFF2-40B4-BE49-F238E27FC236}">
                  <a16:creationId xmlns:a16="http://schemas.microsoft.com/office/drawing/2014/main" id="{B9002210-F049-4E87-BF10-EE3BA8B90009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7" name="Rectangle: Rounded Corners 236">
              <a:extLst>
                <a:ext uri="{FF2B5EF4-FFF2-40B4-BE49-F238E27FC236}">
                  <a16:creationId xmlns:a16="http://schemas.microsoft.com/office/drawing/2014/main" id="{21E034CE-AD85-4004-984C-428BE73E32FF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8" name="Google Shape;349;p22">
              <a:extLst>
                <a:ext uri="{FF2B5EF4-FFF2-40B4-BE49-F238E27FC236}">
                  <a16:creationId xmlns:a16="http://schemas.microsoft.com/office/drawing/2014/main" id="{5C44A594-6A4E-4440-865C-BE246838132F}"/>
                </a:ext>
              </a:extLst>
            </p:cNvPr>
            <p:cNvSpPr/>
            <p:nvPr/>
          </p:nvSpPr>
          <p:spPr>
            <a:xfrm>
              <a:off x="6250113" y="1851086"/>
              <a:ext cx="932256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BERLIN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39" name="Chart 238">
              <a:extLst>
                <a:ext uri="{FF2B5EF4-FFF2-40B4-BE49-F238E27FC236}">
                  <a16:creationId xmlns:a16="http://schemas.microsoft.com/office/drawing/2014/main" id="{8C281E1E-6613-4EE4-8868-EAF5E5636263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4179622-879A-47D1-92D6-79CE1C541283}"/>
              </a:ext>
            </a:extLst>
          </p:cNvPr>
          <p:cNvGrpSpPr/>
          <p:nvPr/>
        </p:nvGrpSpPr>
        <p:grpSpPr>
          <a:xfrm>
            <a:off x="808048" y="1600978"/>
            <a:ext cx="2050545" cy="2050545"/>
            <a:chOff x="5665743" y="1600978"/>
            <a:chExt cx="2050545" cy="2050545"/>
          </a:xfrm>
        </p:grpSpPr>
        <p:sp>
          <p:nvSpPr>
            <p:cNvPr id="240" name="Ovaal 268">
              <a:extLst>
                <a:ext uri="{FF2B5EF4-FFF2-40B4-BE49-F238E27FC236}">
                  <a16:creationId xmlns:a16="http://schemas.microsoft.com/office/drawing/2014/main" id="{965C610D-EC1E-47A4-B867-C3BCAD3F2298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1" name="Ovaal 268">
              <a:extLst>
                <a:ext uri="{FF2B5EF4-FFF2-40B4-BE49-F238E27FC236}">
                  <a16:creationId xmlns:a16="http://schemas.microsoft.com/office/drawing/2014/main" id="{CCB87E1E-3DA3-4FB4-AB59-FABB77E9365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06584D8C-83AD-4562-886E-0D9A1F7FD947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43" name="Google Shape;349;p22">
              <a:extLst>
                <a:ext uri="{FF2B5EF4-FFF2-40B4-BE49-F238E27FC236}">
                  <a16:creationId xmlns:a16="http://schemas.microsoft.com/office/drawing/2014/main" id="{0459EF77-E40D-4F16-B244-061D68D4D823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AMS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44" name="Chart 243">
              <a:extLst>
                <a:ext uri="{FF2B5EF4-FFF2-40B4-BE49-F238E27FC236}">
                  <a16:creationId xmlns:a16="http://schemas.microsoft.com/office/drawing/2014/main" id="{EFA71834-979C-45FD-84E7-6205B92EE4A1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107BAE44-3CDA-444F-B86D-ED8A124A2032}"/>
              </a:ext>
            </a:extLst>
          </p:cNvPr>
          <p:cNvGrpSpPr/>
          <p:nvPr/>
        </p:nvGrpSpPr>
        <p:grpSpPr>
          <a:xfrm>
            <a:off x="4119743" y="1588340"/>
            <a:ext cx="2050545" cy="2050545"/>
            <a:chOff x="5665743" y="1600978"/>
            <a:chExt cx="2050545" cy="2050545"/>
          </a:xfrm>
        </p:grpSpPr>
        <p:sp>
          <p:nvSpPr>
            <p:cNvPr id="230" name="Ovaal 268">
              <a:extLst>
                <a:ext uri="{FF2B5EF4-FFF2-40B4-BE49-F238E27FC236}">
                  <a16:creationId xmlns:a16="http://schemas.microsoft.com/office/drawing/2014/main" id="{CB65EE9D-6438-47C6-B0B3-A70DED40980A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1" name="Ovaal 268">
              <a:extLst>
                <a:ext uri="{FF2B5EF4-FFF2-40B4-BE49-F238E27FC236}">
                  <a16:creationId xmlns:a16="http://schemas.microsoft.com/office/drawing/2014/main" id="{173B90A0-CDB3-4E4C-A383-A0B1FDDEF9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76193E7-6491-4D5A-A99A-2A7EE82681E9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33" name="Google Shape;349;p22">
              <a:extLst>
                <a:ext uri="{FF2B5EF4-FFF2-40B4-BE49-F238E27FC236}">
                  <a16:creationId xmlns:a16="http://schemas.microsoft.com/office/drawing/2014/main" id="{6E814A0D-0A80-471B-BDBB-047FB3C5C5CB}"/>
                </a:ext>
              </a:extLst>
            </p:cNvPr>
            <p:cNvSpPr/>
            <p:nvPr/>
          </p:nvSpPr>
          <p:spPr>
            <a:xfrm>
              <a:off x="6290031" y="1874433"/>
              <a:ext cx="80141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ROME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34" name="Chart 233">
              <a:extLst>
                <a:ext uri="{FF2B5EF4-FFF2-40B4-BE49-F238E27FC236}">
                  <a16:creationId xmlns:a16="http://schemas.microsoft.com/office/drawing/2014/main" id="{3157D914-8425-4833-B10B-4D9089E65F1E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CDB88DB-64CA-44A4-8781-A63F5C210EC8}"/>
              </a:ext>
            </a:extLst>
          </p:cNvPr>
          <p:cNvGrpSpPr/>
          <p:nvPr/>
        </p:nvGrpSpPr>
        <p:grpSpPr>
          <a:xfrm>
            <a:off x="1050197" y="2174057"/>
            <a:ext cx="3149505" cy="2236368"/>
            <a:chOff x="4031572" y="2174057"/>
            <a:chExt cx="3149505" cy="2236368"/>
          </a:xfrm>
        </p:grpSpPr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6B875A51-8FED-4B10-B058-58A0035BD223}"/>
                </a:ext>
              </a:extLst>
            </p:cNvPr>
            <p:cNvGrpSpPr/>
            <p:nvPr/>
          </p:nvGrpSpPr>
          <p:grpSpPr>
            <a:xfrm>
              <a:off x="4031572" y="3798764"/>
              <a:ext cx="873257" cy="400735"/>
              <a:chOff x="4825677" y="3569787"/>
              <a:chExt cx="873257" cy="400735"/>
            </a:xfrm>
          </p:grpSpPr>
          <p:grpSp>
            <p:nvGrpSpPr>
              <p:cNvPr id="221" name="Group 220">
                <a:extLst>
                  <a:ext uri="{FF2B5EF4-FFF2-40B4-BE49-F238E27FC236}">
                    <a16:creationId xmlns:a16="http://schemas.microsoft.com/office/drawing/2014/main" id="{997973F8-7A8E-4A8D-A82F-AF272D95D0C9}"/>
                  </a:ext>
                </a:extLst>
              </p:cNvPr>
              <p:cNvGrpSpPr/>
              <p:nvPr/>
            </p:nvGrpSpPr>
            <p:grpSpPr>
              <a:xfrm rot="5400000">
                <a:off x="5433661" y="3705250"/>
                <a:ext cx="400735" cy="129810"/>
                <a:chOff x="8198583" y="5125817"/>
                <a:chExt cx="561352" cy="181838"/>
              </a:xfrm>
            </p:grpSpPr>
            <p:cxnSp>
              <p:nvCxnSpPr>
                <p:cNvPr id="223" name="Rechte verbindingslijn 304">
                  <a:extLst>
                    <a:ext uri="{FF2B5EF4-FFF2-40B4-BE49-F238E27FC236}">
                      <a16:creationId xmlns:a16="http://schemas.microsoft.com/office/drawing/2014/main" id="{C7FB9677-B08F-4576-B18A-41E357C27F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4" y="5216736"/>
                  <a:ext cx="518491" cy="2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24" name="Group 223">
                  <a:extLst>
                    <a:ext uri="{FF2B5EF4-FFF2-40B4-BE49-F238E27FC236}">
                      <a16:creationId xmlns:a16="http://schemas.microsoft.com/office/drawing/2014/main" id="{EBF16C3D-FF6F-4CB1-9781-8A426C332DF3}"/>
                    </a:ext>
                  </a:extLst>
                </p:cNvPr>
                <p:cNvGrpSpPr/>
                <p:nvPr/>
              </p:nvGrpSpPr>
              <p:grpSpPr>
                <a:xfrm>
                  <a:off x="8198583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28" name="Rechte verbindingslijn 305">
                    <a:extLst>
                      <a:ext uri="{FF2B5EF4-FFF2-40B4-BE49-F238E27FC236}">
                        <a16:creationId xmlns:a16="http://schemas.microsoft.com/office/drawing/2014/main" id="{28D22F27-786D-4058-8D07-97439E828D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Rechte verbindingslijn 305">
                    <a:extLst>
                      <a:ext uri="{FF2B5EF4-FFF2-40B4-BE49-F238E27FC236}">
                        <a16:creationId xmlns:a16="http://schemas.microsoft.com/office/drawing/2014/main" id="{47932712-1215-4272-9D01-DBDE2A0DAC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25" name="Group 224">
                  <a:extLst>
                    <a:ext uri="{FF2B5EF4-FFF2-40B4-BE49-F238E27FC236}">
                      <a16:creationId xmlns:a16="http://schemas.microsoft.com/office/drawing/2014/main" id="{BC9F571C-70D5-424A-AE8F-22EDC242CC6F}"/>
                    </a:ext>
                  </a:extLst>
                </p:cNvPr>
                <p:cNvGrpSpPr/>
                <p:nvPr/>
              </p:nvGrpSpPr>
              <p:grpSpPr>
                <a:xfrm flipH="1">
                  <a:off x="8647806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26" name="Rechte verbindingslijn 305">
                    <a:extLst>
                      <a:ext uri="{FF2B5EF4-FFF2-40B4-BE49-F238E27FC236}">
                        <a16:creationId xmlns:a16="http://schemas.microsoft.com/office/drawing/2014/main" id="{0D0631FC-CC39-43A7-973D-44DC0132B1E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Rechte verbindingslijn 305">
                    <a:extLst>
                      <a:ext uri="{FF2B5EF4-FFF2-40B4-BE49-F238E27FC236}">
                        <a16:creationId xmlns:a16="http://schemas.microsoft.com/office/drawing/2014/main" id="{52EB4380-54FC-4A7A-84C2-3C9D8BA5D39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22" name="Google Shape;349;p22">
                <a:extLst>
                  <a:ext uri="{FF2B5EF4-FFF2-40B4-BE49-F238E27FC236}">
                    <a16:creationId xmlns:a16="http://schemas.microsoft.com/office/drawing/2014/main" id="{0787528A-1B7D-4349-8070-88B0258AE9B5}"/>
                  </a:ext>
                </a:extLst>
              </p:cNvPr>
              <p:cNvSpPr/>
              <p:nvPr/>
            </p:nvSpPr>
            <p:spPr>
              <a:xfrm>
                <a:off x="4825677" y="3609452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0.98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6D137D8-4531-4FA8-B415-B58BDE3E7E10}"/>
                </a:ext>
              </a:extLst>
            </p:cNvPr>
            <p:cNvGrpSpPr/>
            <p:nvPr/>
          </p:nvGrpSpPr>
          <p:grpSpPr>
            <a:xfrm>
              <a:off x="6155587" y="2174057"/>
              <a:ext cx="632019" cy="586900"/>
              <a:chOff x="6155587" y="2174057"/>
              <a:chExt cx="632019" cy="586900"/>
            </a:xfrm>
          </p:grpSpPr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DAF1AAC4-C499-4A69-934C-2CB1BAE1148A}"/>
                  </a:ext>
                </a:extLst>
              </p:cNvPr>
              <p:cNvGrpSpPr/>
              <p:nvPr/>
            </p:nvGrpSpPr>
            <p:grpSpPr>
              <a:xfrm>
                <a:off x="6284122" y="2631147"/>
                <a:ext cx="400736" cy="129810"/>
                <a:chOff x="8198582" y="5125817"/>
                <a:chExt cx="561353" cy="181838"/>
              </a:xfrm>
            </p:grpSpPr>
            <p:cxnSp>
              <p:nvCxnSpPr>
                <p:cNvPr id="214" name="Rechte verbindingslijn 304">
                  <a:extLst>
                    <a:ext uri="{FF2B5EF4-FFF2-40B4-BE49-F238E27FC236}">
                      <a16:creationId xmlns:a16="http://schemas.microsoft.com/office/drawing/2014/main" id="{DF00E48E-FEA0-46B9-BDC6-63B8A073A7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4" y="5216736"/>
                  <a:ext cx="518491" cy="2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15" name="Group 214">
                  <a:extLst>
                    <a:ext uri="{FF2B5EF4-FFF2-40B4-BE49-F238E27FC236}">
                      <a16:creationId xmlns:a16="http://schemas.microsoft.com/office/drawing/2014/main" id="{B782FA3D-01E9-4F1A-B1D9-EE0BA39619ED}"/>
                    </a:ext>
                  </a:extLst>
                </p:cNvPr>
                <p:cNvGrpSpPr/>
                <p:nvPr/>
              </p:nvGrpSpPr>
              <p:grpSpPr>
                <a:xfrm>
                  <a:off x="8198583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19" name="Rechte verbindingslijn 305">
                    <a:extLst>
                      <a:ext uri="{FF2B5EF4-FFF2-40B4-BE49-F238E27FC236}">
                        <a16:creationId xmlns:a16="http://schemas.microsoft.com/office/drawing/2014/main" id="{65858E36-9257-42F8-8BC3-07B4EAA755F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Rechte verbindingslijn 305">
                    <a:extLst>
                      <a:ext uri="{FF2B5EF4-FFF2-40B4-BE49-F238E27FC236}">
                        <a16:creationId xmlns:a16="http://schemas.microsoft.com/office/drawing/2014/main" id="{FEE1D80C-2E32-4F11-B4E4-8DAE2305B2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6" name="Group 215">
                  <a:extLst>
                    <a:ext uri="{FF2B5EF4-FFF2-40B4-BE49-F238E27FC236}">
                      <a16:creationId xmlns:a16="http://schemas.microsoft.com/office/drawing/2014/main" id="{9FA47BD8-E90F-4F0F-AA62-6980B0C71912}"/>
                    </a:ext>
                  </a:extLst>
                </p:cNvPr>
                <p:cNvGrpSpPr/>
                <p:nvPr/>
              </p:nvGrpSpPr>
              <p:grpSpPr>
                <a:xfrm flipH="1">
                  <a:off x="8647806" y="5125817"/>
                  <a:ext cx="112129" cy="181838"/>
                  <a:chOff x="8198583" y="5125817"/>
                  <a:chExt cx="112129" cy="181838"/>
                </a:xfrm>
              </p:grpSpPr>
              <p:cxnSp>
                <p:nvCxnSpPr>
                  <p:cNvPr id="217" name="Rechte verbindingslijn 305">
                    <a:extLst>
                      <a:ext uri="{FF2B5EF4-FFF2-40B4-BE49-F238E27FC236}">
                        <a16:creationId xmlns:a16="http://schemas.microsoft.com/office/drawing/2014/main" id="{55E6B891-527A-46F3-BEB5-13479E7DF3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Rechte verbindingslijn 305">
                    <a:extLst>
                      <a:ext uri="{FF2B5EF4-FFF2-40B4-BE49-F238E27FC236}">
                        <a16:creationId xmlns:a16="http://schemas.microsoft.com/office/drawing/2014/main" id="{73B704C3-BEA6-4ED6-AE0F-1BABD4F7779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13" name="Google Shape;349;p22">
                <a:extLst>
                  <a:ext uri="{FF2B5EF4-FFF2-40B4-BE49-F238E27FC236}">
                    <a16:creationId xmlns:a16="http://schemas.microsoft.com/office/drawing/2014/main" id="{3D7E4EF0-A849-4CCA-A824-B7BDCF0A80FB}"/>
                  </a:ext>
                </a:extLst>
              </p:cNvPr>
              <p:cNvSpPr/>
              <p:nvPr/>
            </p:nvSpPr>
            <p:spPr>
              <a:xfrm>
                <a:off x="6155587" y="2174057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0.73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3A6F70E-094E-4737-A570-811B3666F5C0}"/>
                </a:ext>
              </a:extLst>
            </p:cNvPr>
            <p:cNvGrpSpPr/>
            <p:nvPr/>
          </p:nvGrpSpPr>
          <p:grpSpPr>
            <a:xfrm>
              <a:off x="5749534" y="4034082"/>
              <a:ext cx="1431543" cy="376343"/>
              <a:chOff x="6117177" y="3958759"/>
              <a:chExt cx="1431543" cy="376343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01F9AE89-A434-4357-95C3-2B280C6EEBAC}"/>
                  </a:ext>
                </a:extLst>
              </p:cNvPr>
              <p:cNvGrpSpPr/>
              <p:nvPr/>
            </p:nvGrpSpPr>
            <p:grpSpPr>
              <a:xfrm rot="19236920">
                <a:off x="6117177" y="3958759"/>
                <a:ext cx="1431543" cy="129810"/>
                <a:chOff x="6198012" y="3609585"/>
                <a:chExt cx="1431543" cy="129810"/>
              </a:xfrm>
            </p:grpSpPr>
            <p:cxnSp>
              <p:nvCxnSpPr>
                <p:cNvPr id="205" name="Rechte verbindingslijn 304">
                  <a:extLst>
                    <a:ext uri="{FF2B5EF4-FFF2-40B4-BE49-F238E27FC236}">
                      <a16:creationId xmlns:a16="http://schemas.microsoft.com/office/drawing/2014/main" id="{3C2F9EBC-B012-4324-811E-01C7C2B709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245226" y="3674491"/>
                  <a:ext cx="1353733" cy="0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06" name="Group 205">
                  <a:extLst>
                    <a:ext uri="{FF2B5EF4-FFF2-40B4-BE49-F238E27FC236}">
                      <a16:creationId xmlns:a16="http://schemas.microsoft.com/office/drawing/2014/main" id="{3FE43E71-5E85-4322-9E52-A80F4B75E8A5}"/>
                    </a:ext>
                  </a:extLst>
                </p:cNvPr>
                <p:cNvGrpSpPr/>
                <p:nvPr/>
              </p:nvGrpSpPr>
              <p:grpSpPr>
                <a:xfrm>
                  <a:off x="6198012" y="3609585"/>
                  <a:ext cx="80043" cy="129809"/>
                  <a:chOff x="8198583" y="5125817"/>
                  <a:chExt cx="112125" cy="181837"/>
                </a:xfrm>
              </p:grpSpPr>
              <p:cxnSp>
                <p:nvCxnSpPr>
                  <p:cNvPr id="210" name="Rechte verbindingslijn 305">
                    <a:extLst>
                      <a:ext uri="{FF2B5EF4-FFF2-40B4-BE49-F238E27FC236}">
                        <a16:creationId xmlns:a16="http://schemas.microsoft.com/office/drawing/2014/main" id="{95F3710A-B7AE-41E2-827C-F5B5375DEC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Rechte verbindingslijn 305">
                    <a:extLst>
                      <a:ext uri="{FF2B5EF4-FFF2-40B4-BE49-F238E27FC236}">
                        <a16:creationId xmlns:a16="http://schemas.microsoft.com/office/drawing/2014/main" id="{5E75AE9C-8988-4598-9D39-7603986C79E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07" name="Group 206">
                  <a:extLst>
                    <a:ext uri="{FF2B5EF4-FFF2-40B4-BE49-F238E27FC236}">
                      <a16:creationId xmlns:a16="http://schemas.microsoft.com/office/drawing/2014/main" id="{E4F6559D-393A-4CAF-AE05-D8C73009BC74}"/>
                    </a:ext>
                  </a:extLst>
                </p:cNvPr>
                <p:cNvGrpSpPr/>
                <p:nvPr/>
              </p:nvGrpSpPr>
              <p:grpSpPr>
                <a:xfrm flipH="1">
                  <a:off x="7549509" y="3609585"/>
                  <a:ext cx="80046" cy="129810"/>
                  <a:chOff x="8198583" y="5125817"/>
                  <a:chExt cx="112129" cy="181838"/>
                </a:xfrm>
              </p:grpSpPr>
              <p:cxnSp>
                <p:nvCxnSpPr>
                  <p:cNvPr id="208" name="Rechte verbindingslijn 305">
                    <a:extLst>
                      <a:ext uri="{FF2B5EF4-FFF2-40B4-BE49-F238E27FC236}">
                        <a16:creationId xmlns:a16="http://schemas.microsoft.com/office/drawing/2014/main" id="{03CA8087-B89C-48CA-AC58-CD418C1E0F4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8198583" y="5125817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Rechte verbindingslijn 305">
                    <a:extLst>
                      <a:ext uri="{FF2B5EF4-FFF2-40B4-BE49-F238E27FC236}">
                        <a16:creationId xmlns:a16="http://schemas.microsoft.com/office/drawing/2014/main" id="{F54F67FA-B9B4-4057-A3B1-9D867BDB6D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199588" y="5216736"/>
                    <a:ext cx="111124" cy="90919"/>
                  </a:xfrm>
                  <a:prstGeom prst="line">
                    <a:avLst/>
                  </a:prstGeom>
                  <a:ln w="50800" cap="rnd">
                    <a:solidFill>
                      <a:srgbClr val="CDCDC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04" name="Google Shape;349;p22">
                <a:extLst>
                  <a:ext uri="{FF2B5EF4-FFF2-40B4-BE49-F238E27FC236}">
                    <a16:creationId xmlns:a16="http://schemas.microsoft.com/office/drawing/2014/main" id="{D587EA6E-6D0C-44D5-B0CF-CAEBB4533735}"/>
                  </a:ext>
                </a:extLst>
              </p:cNvPr>
              <p:cNvSpPr/>
              <p:nvPr/>
            </p:nvSpPr>
            <p:spPr>
              <a:xfrm>
                <a:off x="6692283" y="4002703"/>
                <a:ext cx="632019" cy="3323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2400" b="1" kern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?</a:t>
                </a:r>
              </a:p>
            </p:txBody>
          </p:sp>
        </p:grp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E1721EA-A595-407E-B317-2A2FD4B836E3}"/>
              </a:ext>
            </a:extLst>
          </p:cNvPr>
          <p:cNvGrpSpPr/>
          <p:nvPr/>
        </p:nvGrpSpPr>
        <p:grpSpPr>
          <a:xfrm>
            <a:off x="808048" y="2579446"/>
            <a:ext cx="2050545" cy="2050545"/>
            <a:chOff x="5665743" y="1600978"/>
            <a:chExt cx="2050545" cy="2050545"/>
          </a:xfrm>
        </p:grpSpPr>
        <p:sp>
          <p:nvSpPr>
            <p:cNvPr id="264" name="Ovaal 268">
              <a:extLst>
                <a:ext uri="{FF2B5EF4-FFF2-40B4-BE49-F238E27FC236}">
                  <a16:creationId xmlns:a16="http://schemas.microsoft.com/office/drawing/2014/main" id="{A64F7655-023E-4823-965B-7F8A60BEF221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5" name="Ovaal 268">
              <a:extLst>
                <a:ext uri="{FF2B5EF4-FFF2-40B4-BE49-F238E27FC236}">
                  <a16:creationId xmlns:a16="http://schemas.microsoft.com/office/drawing/2014/main" id="{96FDA6D9-1D66-45DF-9CD9-44078F19232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6266CECC-4F57-4BAE-A62E-BF326EE85476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7" name="Google Shape;349;p22">
              <a:extLst>
                <a:ext uri="{FF2B5EF4-FFF2-40B4-BE49-F238E27FC236}">
                  <a16:creationId xmlns:a16="http://schemas.microsoft.com/office/drawing/2014/main" id="{F9FF20C0-27AE-4443-A562-3354D02EAD16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1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8" name="Chart 267">
              <a:extLst>
                <a:ext uri="{FF2B5EF4-FFF2-40B4-BE49-F238E27FC236}">
                  <a16:creationId xmlns:a16="http://schemas.microsoft.com/office/drawing/2014/main" id="{8689F347-9F35-4A50-B897-0DBB572CB624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5FE38181-07C3-4D1D-869F-AEBBC105369E}"/>
              </a:ext>
            </a:extLst>
          </p:cNvPr>
          <p:cNvGrpSpPr/>
          <p:nvPr/>
        </p:nvGrpSpPr>
        <p:grpSpPr>
          <a:xfrm>
            <a:off x="4119743" y="2566808"/>
            <a:ext cx="2050545" cy="2050545"/>
            <a:chOff x="5665743" y="1600978"/>
            <a:chExt cx="2050545" cy="2050545"/>
          </a:xfrm>
        </p:grpSpPr>
        <p:sp>
          <p:nvSpPr>
            <p:cNvPr id="259" name="Ovaal 268">
              <a:extLst>
                <a:ext uri="{FF2B5EF4-FFF2-40B4-BE49-F238E27FC236}">
                  <a16:creationId xmlns:a16="http://schemas.microsoft.com/office/drawing/2014/main" id="{EE6B203E-84B3-4D21-9ABA-A24B8AB7D01B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0" name="Ovaal 268">
              <a:extLst>
                <a:ext uri="{FF2B5EF4-FFF2-40B4-BE49-F238E27FC236}">
                  <a16:creationId xmlns:a16="http://schemas.microsoft.com/office/drawing/2014/main" id="{97653E4F-FAA3-4A8E-94AF-CB00EB35DF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A66273DD-45AC-472D-A313-0D728080F002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2" name="Google Shape;349;p22">
              <a:extLst>
                <a:ext uri="{FF2B5EF4-FFF2-40B4-BE49-F238E27FC236}">
                  <a16:creationId xmlns:a16="http://schemas.microsoft.com/office/drawing/2014/main" id="{15F96217-37AC-4ACD-B28F-74CA427E98EF}"/>
                </a:ext>
              </a:extLst>
            </p:cNvPr>
            <p:cNvSpPr/>
            <p:nvPr/>
          </p:nvSpPr>
          <p:spPr>
            <a:xfrm>
              <a:off x="6037195" y="1865936"/>
              <a:ext cx="130708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2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3" name="Chart 262">
              <a:extLst>
                <a:ext uri="{FF2B5EF4-FFF2-40B4-BE49-F238E27FC236}">
                  <a16:creationId xmlns:a16="http://schemas.microsoft.com/office/drawing/2014/main" id="{96663BA5-5135-4251-92C4-84D390C86023}"/>
                </a:ext>
              </a:extLst>
            </p:cNvPr>
            <p:cNvGraphicFramePr/>
            <p:nvPr/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2AD24B0-0196-426D-933C-65E0895EF67F}"/>
              </a:ext>
            </a:extLst>
          </p:cNvPr>
          <p:cNvGrpSpPr/>
          <p:nvPr/>
        </p:nvGrpSpPr>
        <p:grpSpPr>
          <a:xfrm>
            <a:off x="2980922" y="3199094"/>
            <a:ext cx="1016491" cy="930036"/>
            <a:chOff x="5916657" y="3023375"/>
            <a:chExt cx="1016491" cy="930036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D84E239C-9BB3-4DA9-BEC5-271284F23A7F}"/>
                </a:ext>
              </a:extLst>
            </p:cNvPr>
            <p:cNvGrpSpPr/>
            <p:nvPr/>
          </p:nvGrpSpPr>
          <p:grpSpPr>
            <a:xfrm>
              <a:off x="6224534" y="3452765"/>
              <a:ext cx="400736" cy="129810"/>
              <a:chOff x="8198582" y="5125817"/>
              <a:chExt cx="561353" cy="181838"/>
            </a:xfrm>
          </p:grpSpPr>
          <p:cxnSp>
            <p:nvCxnSpPr>
              <p:cNvPr id="252" name="Rechte verbindingslijn 304">
                <a:extLst>
                  <a:ext uri="{FF2B5EF4-FFF2-40B4-BE49-F238E27FC236}">
                    <a16:creationId xmlns:a16="http://schemas.microsoft.com/office/drawing/2014/main" id="{6CF00E4E-F8E6-4F58-B1EE-41BAA01408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11201C2F-6E26-4DFA-8724-D2EF5CC0654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7" name="Rechte verbindingslijn 305">
                  <a:extLst>
                    <a:ext uri="{FF2B5EF4-FFF2-40B4-BE49-F238E27FC236}">
                      <a16:creationId xmlns:a16="http://schemas.microsoft.com/office/drawing/2014/main" id="{2309FC43-6C35-469A-871F-B880DF1653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Rechte verbindingslijn 305">
                  <a:extLst>
                    <a:ext uri="{FF2B5EF4-FFF2-40B4-BE49-F238E27FC236}">
                      <a16:creationId xmlns:a16="http://schemas.microsoft.com/office/drawing/2014/main" id="{95DFE376-4F5B-4FEE-B81F-233D1757FF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5ABBC342-6F3F-4E33-B7CD-BA4FFC7D8603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5" name="Rechte verbindingslijn 305">
                  <a:extLst>
                    <a:ext uri="{FF2B5EF4-FFF2-40B4-BE49-F238E27FC236}">
                      <a16:creationId xmlns:a16="http://schemas.microsoft.com/office/drawing/2014/main" id="{6CAEF325-E01A-44D0-9A41-4FA66ED349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Rechte verbindingslijn 305">
                  <a:extLst>
                    <a:ext uri="{FF2B5EF4-FFF2-40B4-BE49-F238E27FC236}">
                      <a16:creationId xmlns:a16="http://schemas.microsoft.com/office/drawing/2014/main" id="{A8D973B4-2961-46C9-A01C-4301CF706C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0" name="Google Shape;349;p22">
              <a:extLst>
                <a:ext uri="{FF2B5EF4-FFF2-40B4-BE49-F238E27FC236}">
                  <a16:creationId xmlns:a16="http://schemas.microsoft.com/office/drawing/2014/main" id="{AE51CFF5-3366-48BA-B68B-1DED6D5C1128}"/>
                </a:ext>
              </a:extLst>
            </p:cNvPr>
            <p:cNvSpPr/>
            <p:nvPr/>
          </p:nvSpPr>
          <p:spPr>
            <a:xfrm>
              <a:off x="5916657" y="3023375"/>
              <a:ext cx="1016491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0.7,0.75]</a:t>
              </a:r>
            </a:p>
          </p:txBody>
        </p:sp>
        <p:sp>
          <p:nvSpPr>
            <p:cNvPr id="251" name="Google Shape;349;p22">
              <a:extLst>
                <a:ext uri="{FF2B5EF4-FFF2-40B4-BE49-F238E27FC236}">
                  <a16:creationId xmlns:a16="http://schemas.microsoft.com/office/drawing/2014/main" id="{CC3D8657-006C-435D-B855-026BD4CD3479}"/>
                </a:ext>
              </a:extLst>
            </p:cNvPr>
            <p:cNvSpPr/>
            <p:nvPr/>
          </p:nvSpPr>
          <p:spPr>
            <a:xfrm>
              <a:off x="5970188" y="3704112"/>
              <a:ext cx="909429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>
                  <a:solidFill>
                    <a:schemeClr val="bg2">
                      <a:lumMod val="7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LB,UB]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32ED0AA-5A4A-45C2-8042-50A5D2862C67}"/>
              </a:ext>
            </a:extLst>
          </p:cNvPr>
          <p:cNvGrpSpPr/>
          <p:nvPr/>
        </p:nvGrpSpPr>
        <p:grpSpPr>
          <a:xfrm>
            <a:off x="6544611" y="3476316"/>
            <a:ext cx="5512683" cy="1672560"/>
            <a:chOff x="6544611" y="3476316"/>
            <a:chExt cx="5512683" cy="1672560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D70DA04D-EF43-4D4C-8B37-19EFD1A625FC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84" name="Rechte verbindingslijn 304">
                <a:extLst>
                  <a:ext uri="{FF2B5EF4-FFF2-40B4-BE49-F238E27FC236}">
                    <a16:creationId xmlns:a16="http://schemas.microsoft.com/office/drawing/2014/main" id="{37CC2FB1-629F-4E0D-9C2F-DF60A0636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578680E-74BB-4C21-A69A-E9FE6589B8C7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86" name="Rechte verbindingslijn 305">
                  <a:extLst>
                    <a:ext uri="{FF2B5EF4-FFF2-40B4-BE49-F238E27FC236}">
                      <a16:creationId xmlns:a16="http://schemas.microsoft.com/office/drawing/2014/main" id="{6DAC3F94-8125-4015-9C72-E73D80A6B4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Rechte verbindingslijn 305">
                  <a:extLst>
                    <a:ext uri="{FF2B5EF4-FFF2-40B4-BE49-F238E27FC236}">
                      <a16:creationId xmlns:a16="http://schemas.microsoft.com/office/drawing/2014/main" id="{C2E8F218-17B8-4334-9661-3B02496F19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1" name="TextBox 191">
              <a:extLst>
                <a:ext uri="{FF2B5EF4-FFF2-40B4-BE49-F238E27FC236}">
                  <a16:creationId xmlns:a16="http://schemas.microsoft.com/office/drawing/2014/main" id="{40A99C3B-B809-4BF3-9F02-008992CC5B89}"/>
                </a:ext>
              </a:extLst>
            </p:cNvPr>
            <p:cNvSpPr txBox="1"/>
            <p:nvPr/>
          </p:nvSpPr>
          <p:spPr>
            <a:xfrm>
              <a:off x="8963992" y="4116492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Cluster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7,0.75]</m:t>
                        </m:r>
                      </m:oMath>
                    </m:oMathPara>
                  </a14:m>
                  <a:endParaRPr lang="en-NL" sz="2400" i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DA32BF9-8327-4CDF-8610-B9A80C6857F2}"/>
              </a:ext>
            </a:extLst>
          </p:cNvPr>
          <p:cNvGrpSpPr/>
          <p:nvPr/>
        </p:nvGrpSpPr>
        <p:grpSpPr>
          <a:xfrm>
            <a:off x="7309750" y="2118066"/>
            <a:ext cx="4014858" cy="1284427"/>
            <a:chOff x="7309750" y="2118066"/>
            <a:chExt cx="4014858" cy="128442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𝐴𝑀𝑆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0.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73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  <a:blipFill>
                  <a:blip r:embed="rId10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0" name="TextBox 191">
              <a:extLst>
                <a:ext uri="{FF2B5EF4-FFF2-40B4-BE49-F238E27FC236}">
                  <a16:creationId xmlns:a16="http://schemas.microsoft.com/office/drawing/2014/main" id="{61C23290-4DF1-4C67-B701-359BF5D34899}"/>
                </a:ext>
              </a:extLst>
            </p:cNvPr>
            <p:cNvSpPr txBox="1"/>
            <p:nvPr/>
          </p:nvSpPr>
          <p:spPr>
            <a:xfrm>
              <a:off x="8963993" y="2118066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ctors</a:t>
              </a:r>
              <a:endPara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𝐵𝐸𝑅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  ?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  <a:blipFill>
                  <a:blip r:embed="rId11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AC8A1EF5-E483-44E2-84C5-2498E3CA592E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D53EDEF-3970-4602-B9FA-583D94B44F76}"/>
              </a:ext>
            </a:extLst>
          </p:cNvPr>
          <p:cNvSpPr txBox="1"/>
          <p:nvPr/>
        </p:nvSpPr>
        <p:spPr>
          <a:xfrm>
            <a:off x="874713" y="1074167"/>
            <a:ext cx="9714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u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F76E6-99CE-4C99-9E18-60B0B7802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0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96102718"/>
      </p:ext>
    </p:extLst>
  </p:cSld>
  <p:clrMapOvr>
    <a:masterClrMapping/>
  </p:clrMapOvr>
  <p:transition spd="med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3.7037E-7 L -6.25E-7 0.1412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06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2.59259E-6 L -6.25E-7 -0.26088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05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1.48148E-6 L 4.79167E-6 0.1412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0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E1721EA-A595-407E-B317-2A2FD4B836E3}"/>
              </a:ext>
            </a:extLst>
          </p:cNvPr>
          <p:cNvGrpSpPr/>
          <p:nvPr/>
        </p:nvGrpSpPr>
        <p:grpSpPr>
          <a:xfrm>
            <a:off x="808048" y="1378455"/>
            <a:ext cx="2050545" cy="2050545"/>
            <a:chOff x="5665743" y="1600978"/>
            <a:chExt cx="2050545" cy="2050545"/>
          </a:xfrm>
        </p:grpSpPr>
        <p:sp>
          <p:nvSpPr>
            <p:cNvPr id="264" name="Ovaal 268">
              <a:extLst>
                <a:ext uri="{FF2B5EF4-FFF2-40B4-BE49-F238E27FC236}">
                  <a16:creationId xmlns:a16="http://schemas.microsoft.com/office/drawing/2014/main" id="{A64F7655-023E-4823-965B-7F8A60BEF221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5" name="Ovaal 268">
              <a:extLst>
                <a:ext uri="{FF2B5EF4-FFF2-40B4-BE49-F238E27FC236}">
                  <a16:creationId xmlns:a16="http://schemas.microsoft.com/office/drawing/2014/main" id="{96FDA6D9-1D66-45DF-9CD9-44078F19232F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6266CECC-4F57-4BAE-A62E-BF326EE85476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7" name="Google Shape;349;p22">
              <a:extLst>
                <a:ext uri="{FF2B5EF4-FFF2-40B4-BE49-F238E27FC236}">
                  <a16:creationId xmlns:a16="http://schemas.microsoft.com/office/drawing/2014/main" id="{F9FF20C0-27AE-4443-A562-3354D02EAD16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1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8" name="Chart 267">
              <a:extLst>
                <a:ext uri="{FF2B5EF4-FFF2-40B4-BE49-F238E27FC236}">
                  <a16:creationId xmlns:a16="http://schemas.microsoft.com/office/drawing/2014/main" id="{8689F347-9F35-4A50-B897-0DBB572CB62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94639419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5FE38181-07C3-4D1D-869F-AEBBC105369E}"/>
              </a:ext>
            </a:extLst>
          </p:cNvPr>
          <p:cNvGrpSpPr/>
          <p:nvPr/>
        </p:nvGrpSpPr>
        <p:grpSpPr>
          <a:xfrm>
            <a:off x="4784158" y="2566808"/>
            <a:ext cx="2050545" cy="2050545"/>
            <a:chOff x="5665743" y="1600978"/>
            <a:chExt cx="2050545" cy="2050545"/>
          </a:xfrm>
        </p:grpSpPr>
        <p:sp>
          <p:nvSpPr>
            <p:cNvPr id="259" name="Ovaal 268">
              <a:extLst>
                <a:ext uri="{FF2B5EF4-FFF2-40B4-BE49-F238E27FC236}">
                  <a16:creationId xmlns:a16="http://schemas.microsoft.com/office/drawing/2014/main" id="{EE6B203E-84B3-4D21-9ABA-A24B8AB7D01B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0" name="Ovaal 268">
              <a:extLst>
                <a:ext uri="{FF2B5EF4-FFF2-40B4-BE49-F238E27FC236}">
                  <a16:creationId xmlns:a16="http://schemas.microsoft.com/office/drawing/2014/main" id="{97653E4F-FAA3-4A8E-94AF-CB00EB35DFBE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A66273DD-45AC-472D-A313-0D728080F002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62" name="Google Shape;349;p22">
              <a:extLst>
                <a:ext uri="{FF2B5EF4-FFF2-40B4-BE49-F238E27FC236}">
                  <a16:creationId xmlns:a16="http://schemas.microsoft.com/office/drawing/2014/main" id="{15F96217-37AC-4ACD-B28F-74CA427E98EF}"/>
                </a:ext>
              </a:extLst>
            </p:cNvPr>
            <p:cNvSpPr/>
            <p:nvPr/>
          </p:nvSpPr>
          <p:spPr>
            <a:xfrm>
              <a:off x="6037195" y="1865936"/>
              <a:ext cx="1307081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2</a:t>
              </a:r>
              <a:endParaRPr sz="2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263" name="Chart 262">
              <a:extLst>
                <a:ext uri="{FF2B5EF4-FFF2-40B4-BE49-F238E27FC236}">
                  <a16:creationId xmlns:a16="http://schemas.microsoft.com/office/drawing/2014/main" id="{96663BA5-5135-4251-92C4-84D390C8602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66064651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2AD24B0-0196-426D-933C-65E0895EF67F}"/>
              </a:ext>
            </a:extLst>
          </p:cNvPr>
          <p:cNvGrpSpPr/>
          <p:nvPr/>
        </p:nvGrpSpPr>
        <p:grpSpPr>
          <a:xfrm>
            <a:off x="3609655" y="3199094"/>
            <a:ext cx="1016491" cy="930036"/>
            <a:chOff x="5916657" y="3023375"/>
            <a:chExt cx="1016491" cy="930036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D84E239C-9BB3-4DA9-BEC5-271284F23A7F}"/>
                </a:ext>
              </a:extLst>
            </p:cNvPr>
            <p:cNvGrpSpPr/>
            <p:nvPr/>
          </p:nvGrpSpPr>
          <p:grpSpPr>
            <a:xfrm>
              <a:off x="6224534" y="3452765"/>
              <a:ext cx="400736" cy="129810"/>
              <a:chOff x="8198582" y="5125817"/>
              <a:chExt cx="561353" cy="181838"/>
            </a:xfrm>
          </p:grpSpPr>
          <p:cxnSp>
            <p:nvCxnSpPr>
              <p:cNvPr id="252" name="Rechte verbindingslijn 304">
                <a:extLst>
                  <a:ext uri="{FF2B5EF4-FFF2-40B4-BE49-F238E27FC236}">
                    <a16:creationId xmlns:a16="http://schemas.microsoft.com/office/drawing/2014/main" id="{6CF00E4E-F8E6-4F58-B1EE-41BAA01408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11201C2F-6E26-4DFA-8724-D2EF5CC0654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7" name="Rechte verbindingslijn 305">
                  <a:extLst>
                    <a:ext uri="{FF2B5EF4-FFF2-40B4-BE49-F238E27FC236}">
                      <a16:creationId xmlns:a16="http://schemas.microsoft.com/office/drawing/2014/main" id="{2309FC43-6C35-469A-871F-B880DF1653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Rechte verbindingslijn 305">
                  <a:extLst>
                    <a:ext uri="{FF2B5EF4-FFF2-40B4-BE49-F238E27FC236}">
                      <a16:creationId xmlns:a16="http://schemas.microsoft.com/office/drawing/2014/main" id="{95DFE376-4F5B-4FEE-B81F-233D1757FF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5ABBC342-6F3F-4E33-B7CD-BA4FFC7D8603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255" name="Rechte verbindingslijn 305">
                  <a:extLst>
                    <a:ext uri="{FF2B5EF4-FFF2-40B4-BE49-F238E27FC236}">
                      <a16:creationId xmlns:a16="http://schemas.microsoft.com/office/drawing/2014/main" id="{6CAEF325-E01A-44D0-9A41-4FA66ED349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Rechte verbindingslijn 305">
                  <a:extLst>
                    <a:ext uri="{FF2B5EF4-FFF2-40B4-BE49-F238E27FC236}">
                      <a16:creationId xmlns:a16="http://schemas.microsoft.com/office/drawing/2014/main" id="{A8D973B4-2961-46C9-A01C-4301CF706C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0" name="Google Shape;349;p22">
              <a:extLst>
                <a:ext uri="{FF2B5EF4-FFF2-40B4-BE49-F238E27FC236}">
                  <a16:creationId xmlns:a16="http://schemas.microsoft.com/office/drawing/2014/main" id="{AE51CFF5-3366-48BA-B68B-1DED6D5C1128}"/>
                </a:ext>
              </a:extLst>
            </p:cNvPr>
            <p:cNvSpPr/>
            <p:nvPr/>
          </p:nvSpPr>
          <p:spPr>
            <a:xfrm>
              <a:off x="5916657" y="3023375"/>
              <a:ext cx="1016491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0.5,0.9]</a:t>
              </a:r>
            </a:p>
          </p:txBody>
        </p:sp>
        <p:sp>
          <p:nvSpPr>
            <p:cNvPr id="251" name="Google Shape;349;p22">
              <a:extLst>
                <a:ext uri="{FF2B5EF4-FFF2-40B4-BE49-F238E27FC236}">
                  <a16:creationId xmlns:a16="http://schemas.microsoft.com/office/drawing/2014/main" id="{CC3D8657-006C-435D-B855-026BD4CD3479}"/>
                </a:ext>
              </a:extLst>
            </p:cNvPr>
            <p:cNvSpPr/>
            <p:nvPr/>
          </p:nvSpPr>
          <p:spPr>
            <a:xfrm>
              <a:off x="5970188" y="3704112"/>
              <a:ext cx="909429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>
                  <a:solidFill>
                    <a:schemeClr val="bg2">
                      <a:lumMod val="75000"/>
                    </a:schemeClr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[LB,UB]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32ED0AA-5A4A-45C2-8042-50A5D2862C67}"/>
              </a:ext>
            </a:extLst>
          </p:cNvPr>
          <p:cNvGrpSpPr/>
          <p:nvPr/>
        </p:nvGrpSpPr>
        <p:grpSpPr>
          <a:xfrm>
            <a:off x="6544611" y="2505138"/>
            <a:ext cx="5512683" cy="1672560"/>
            <a:chOff x="6544611" y="3476316"/>
            <a:chExt cx="5512683" cy="1672560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D70DA04D-EF43-4D4C-8B37-19EFD1A625FC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84" name="Rechte verbindingslijn 304">
                <a:extLst>
                  <a:ext uri="{FF2B5EF4-FFF2-40B4-BE49-F238E27FC236}">
                    <a16:creationId xmlns:a16="http://schemas.microsoft.com/office/drawing/2014/main" id="{37CC2FB1-629F-4E0D-9C2F-DF60A0636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578680E-74BB-4C21-A69A-E9FE6589B8C7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86" name="Rechte verbindingslijn 305">
                  <a:extLst>
                    <a:ext uri="{FF2B5EF4-FFF2-40B4-BE49-F238E27FC236}">
                      <a16:creationId xmlns:a16="http://schemas.microsoft.com/office/drawing/2014/main" id="{6DAC3F94-8125-4015-9C72-E73D80A6B4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Rechte verbindingslijn 305">
                  <a:extLst>
                    <a:ext uri="{FF2B5EF4-FFF2-40B4-BE49-F238E27FC236}">
                      <a16:creationId xmlns:a16="http://schemas.microsoft.com/office/drawing/2014/main" id="{C2E8F218-17B8-4334-9661-3B02496F19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1" name="TextBox 191">
              <a:extLst>
                <a:ext uri="{FF2B5EF4-FFF2-40B4-BE49-F238E27FC236}">
                  <a16:creationId xmlns:a16="http://schemas.microsoft.com/office/drawing/2014/main" id="{40A99C3B-B809-4BF3-9F02-008992CC5B89}"/>
                </a:ext>
              </a:extLst>
            </p:cNvPr>
            <p:cNvSpPr txBox="1"/>
            <p:nvPr/>
          </p:nvSpPr>
          <p:spPr>
            <a:xfrm>
              <a:off x="8963992" y="4116492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rgbClr val="C00000"/>
                  </a:solidFill>
                </a:rPr>
                <a:t>Cluster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7,0.75]</m:t>
                        </m:r>
                      </m:oMath>
                    </m:oMathPara>
                  </a14:m>
                  <a:endParaRPr lang="en-NL" sz="2400" i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5" name="Content Placeholder 5">
                  <a:extLst>
                    <a:ext uri="{FF2B5EF4-FFF2-40B4-BE49-F238E27FC236}">
                      <a16:creationId xmlns:a16="http://schemas.microsoft.com/office/drawing/2014/main" id="{6484BC15-2827-48C4-877C-B9C71DCC6C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DA32BF9-8327-4CDF-8610-B9A80C6857F2}"/>
              </a:ext>
            </a:extLst>
          </p:cNvPr>
          <p:cNvGrpSpPr/>
          <p:nvPr/>
        </p:nvGrpSpPr>
        <p:grpSpPr>
          <a:xfrm>
            <a:off x="7309750" y="1146888"/>
            <a:ext cx="4014858" cy="1284427"/>
            <a:chOff x="7309750" y="2118066"/>
            <a:chExt cx="4014858" cy="128442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𝐴𝑀𝑆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0.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73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88" name="Content Placeholder 5">
                  <a:extLst>
                    <a:ext uri="{FF2B5EF4-FFF2-40B4-BE49-F238E27FC236}">
                      <a16:creationId xmlns:a16="http://schemas.microsoft.com/office/drawing/2014/main" id="{878BA819-8DF9-4EAB-B6A5-EF4B04F88C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07108" y="2475118"/>
                  <a:ext cx="3917500" cy="476657"/>
                </a:xfrm>
                <a:prstGeom prst="rect">
                  <a:avLst/>
                </a:prstGeom>
                <a:blipFill>
                  <a:blip r:embed="rId6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0" name="TextBox 191">
              <a:extLst>
                <a:ext uri="{FF2B5EF4-FFF2-40B4-BE49-F238E27FC236}">
                  <a16:creationId xmlns:a16="http://schemas.microsoft.com/office/drawing/2014/main" id="{61C23290-4DF1-4C67-B701-359BF5D34899}"/>
                </a:ext>
              </a:extLst>
            </p:cNvPr>
            <p:cNvSpPr txBox="1"/>
            <p:nvPr/>
          </p:nvSpPr>
          <p:spPr>
            <a:xfrm>
              <a:off x="8963993" y="2118066"/>
              <a:ext cx="119248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ctors</a:t>
              </a:r>
              <a:endParaRPr lang="en-US" sz="20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𝐵𝐸𝑅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chemeClr val="tx1">
                                        <a:lumMod val="50000"/>
                                        <a:lumOff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𝑅𝑂𝑀𝐸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en-GB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  ?</m:t>
                        </m:r>
                      </m:oMath>
                    </m:oMathPara>
                  </a14:m>
                  <a:endParaRPr lang="en-US" sz="240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6" name="Content Placeholder 5">
                  <a:extLst>
                    <a:ext uri="{FF2B5EF4-FFF2-40B4-BE49-F238E27FC236}">
                      <a16:creationId xmlns:a16="http://schemas.microsoft.com/office/drawing/2014/main" id="{D661A8C9-B407-44AA-A115-173B526F8AE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09750" y="2925836"/>
                  <a:ext cx="3917500" cy="476657"/>
                </a:xfrm>
                <a:prstGeom prst="rect">
                  <a:avLst/>
                </a:prstGeom>
                <a:blipFill>
                  <a:blip r:embed="rId7"/>
                  <a:stretch>
                    <a:fillRect b="-641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E9081E2-51EF-447E-82E1-F281C9C58A9A}"/>
              </a:ext>
            </a:extLst>
          </p:cNvPr>
          <p:cNvGrpSpPr/>
          <p:nvPr/>
        </p:nvGrpSpPr>
        <p:grpSpPr>
          <a:xfrm>
            <a:off x="6586548" y="4341414"/>
            <a:ext cx="5512683" cy="1672560"/>
            <a:chOff x="6544611" y="3476316"/>
            <a:chExt cx="5512683" cy="167256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616516C-53C1-402F-BC64-98305FDEBD72}"/>
                </a:ext>
              </a:extLst>
            </p:cNvPr>
            <p:cNvGrpSpPr/>
            <p:nvPr/>
          </p:nvGrpSpPr>
          <p:grpSpPr>
            <a:xfrm>
              <a:off x="9268501" y="3476316"/>
              <a:ext cx="129809" cy="605978"/>
              <a:chOff x="6031096" y="3606800"/>
              <a:chExt cx="129809" cy="605978"/>
            </a:xfrm>
          </p:grpSpPr>
          <p:cxnSp>
            <p:nvCxnSpPr>
              <p:cNvPr id="98" name="Rechte verbindingslijn 304">
                <a:extLst>
                  <a:ext uri="{FF2B5EF4-FFF2-40B4-BE49-F238E27FC236}">
                    <a16:creationId xmlns:a16="http://schemas.microsoft.com/office/drawing/2014/main" id="{7EE7FE65-1878-4E49-AEC2-5A6BD7C41C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606800"/>
                <a:ext cx="2" cy="558764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F1D54E36-3D01-46EC-8CE1-3727D10F5465}"/>
                  </a:ext>
                </a:extLst>
              </p:cNvPr>
              <p:cNvGrpSpPr/>
              <p:nvPr/>
            </p:nvGrpSpPr>
            <p:grpSpPr>
              <a:xfrm rot="16200000">
                <a:off x="6055979" y="4107852"/>
                <a:ext cx="80043" cy="129809"/>
                <a:chOff x="8198583" y="5125817"/>
                <a:chExt cx="112125" cy="181837"/>
              </a:xfrm>
            </p:grpSpPr>
            <p:cxnSp>
              <p:nvCxnSpPr>
                <p:cNvPr id="100" name="Rechte verbindingslijn 305">
                  <a:extLst>
                    <a:ext uri="{FF2B5EF4-FFF2-40B4-BE49-F238E27FC236}">
                      <a16:creationId xmlns:a16="http://schemas.microsoft.com/office/drawing/2014/main" id="{00E70D3A-1ADD-4760-A1EA-78E843CC06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Rechte verbindingslijn 305">
                  <a:extLst>
                    <a:ext uri="{FF2B5EF4-FFF2-40B4-BE49-F238E27FC236}">
                      <a16:creationId xmlns:a16="http://schemas.microsoft.com/office/drawing/2014/main" id="{933AA104-34A0-436A-9489-D1E9D55D94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4" name="TextBox 191">
              <a:extLst>
                <a:ext uri="{FF2B5EF4-FFF2-40B4-BE49-F238E27FC236}">
                  <a16:creationId xmlns:a16="http://schemas.microsoft.com/office/drawing/2014/main" id="{7A0A0248-BF0C-4D97-84AE-96E036F17AC7}"/>
                </a:ext>
              </a:extLst>
            </p:cNvPr>
            <p:cNvSpPr txBox="1"/>
            <p:nvPr/>
          </p:nvSpPr>
          <p:spPr>
            <a:xfrm>
              <a:off x="8673438" y="4116492"/>
              <a:ext cx="148303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Multivariat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Content Placeholder 5">
                  <a:extLst>
                    <a:ext uri="{FF2B5EF4-FFF2-40B4-BE49-F238E27FC236}">
                      <a16:creationId xmlns:a16="http://schemas.microsoft.com/office/drawing/2014/main" id="{FD5C9827-F3EF-42E9-A7D0-0678D3BD526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</p:spPr>
              <p:txBody>
                <a:bodyPr/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𝐶𝑜𝑟𝑟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𝑆𝑢𝑚</m:t>
                        </m:r>
                        <m:d>
                          <m:dPr>
                            <m:ctrlPr>
                              <a:rPr lang="en-GB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i="1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i="1">
                                <a:solidFill>
                                  <a:schemeClr val="tx1">
                                    <a:lumMod val="85000"/>
                                    <a:lumOff val="1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i="1" smtClean="0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i="1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solidFill>
                                      <a:srgbClr val="C81919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50000"/>
                                    <a:lumOff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[0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0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9</m:t>
                        </m:r>
                        <m:r>
                          <a:rPr lang="en-US" sz="2400" i="1">
                            <a:solidFill>
                              <a:schemeClr val="tx1">
                                <a:lumMod val="85000"/>
                                <a:lumOff val="1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]</m:t>
                        </m:r>
                      </m:oMath>
                    </m:oMathPara>
                  </a14:m>
                  <a:endParaRPr lang="en-NL" sz="2400" i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7" name="Content Placeholder 5">
                  <a:extLst>
                    <a:ext uri="{FF2B5EF4-FFF2-40B4-BE49-F238E27FC236}">
                      <a16:creationId xmlns:a16="http://schemas.microsoft.com/office/drawing/2014/main" id="{FD5C9827-F3EF-42E9-A7D0-0678D3BD52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44611" y="4591522"/>
                  <a:ext cx="5512683" cy="557354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99ADFB0-C036-41F0-90C8-B4DF72241674}"/>
              </a:ext>
            </a:extLst>
          </p:cNvPr>
          <p:cNvGrpSpPr/>
          <p:nvPr/>
        </p:nvGrpSpPr>
        <p:grpSpPr>
          <a:xfrm>
            <a:off x="807389" y="3872221"/>
            <a:ext cx="2050545" cy="2050545"/>
            <a:chOff x="5665743" y="1600978"/>
            <a:chExt cx="2050545" cy="2050545"/>
          </a:xfrm>
        </p:grpSpPr>
        <p:sp>
          <p:nvSpPr>
            <p:cNvPr id="103" name="Ovaal 268">
              <a:extLst>
                <a:ext uri="{FF2B5EF4-FFF2-40B4-BE49-F238E27FC236}">
                  <a16:creationId xmlns:a16="http://schemas.microsoft.com/office/drawing/2014/main" id="{0FF7878D-5326-40DF-95B6-981B8FE22A1A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4" name="Ovaal 268">
              <a:extLst>
                <a:ext uri="{FF2B5EF4-FFF2-40B4-BE49-F238E27FC236}">
                  <a16:creationId xmlns:a16="http://schemas.microsoft.com/office/drawing/2014/main" id="{D2D4CF16-3333-4A04-A967-27DD88625285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9D78EBB4-762C-4472-B83F-8AFD7B1A545D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6" name="Google Shape;349;p22">
              <a:extLst>
                <a:ext uri="{FF2B5EF4-FFF2-40B4-BE49-F238E27FC236}">
                  <a16:creationId xmlns:a16="http://schemas.microsoft.com/office/drawing/2014/main" id="{5274D400-E0C4-4EF8-93A5-51DBCB92B96B}"/>
                </a:ext>
              </a:extLst>
            </p:cNvPr>
            <p:cNvSpPr/>
            <p:nvPr/>
          </p:nvSpPr>
          <p:spPr>
            <a:xfrm>
              <a:off x="6029707" y="1865935"/>
              <a:ext cx="137306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CLUSTER 3</a:t>
              </a:r>
              <a:endParaRPr sz="2400" b="1" kern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107" name="Chart 106">
              <a:extLst>
                <a:ext uri="{FF2B5EF4-FFF2-40B4-BE49-F238E27FC236}">
                  <a16:creationId xmlns:a16="http://schemas.microsoft.com/office/drawing/2014/main" id="{9B5D9ADF-823C-48EC-BBD2-310EF1B01CF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55218063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AD818FE-D3A5-42ED-BFDF-8BF7BBCFEA4B}"/>
              </a:ext>
            </a:extLst>
          </p:cNvPr>
          <p:cNvGrpSpPr/>
          <p:nvPr/>
        </p:nvGrpSpPr>
        <p:grpSpPr>
          <a:xfrm>
            <a:off x="2558170" y="3148198"/>
            <a:ext cx="1004825" cy="1004825"/>
            <a:chOff x="5665743" y="1600978"/>
            <a:chExt cx="2050545" cy="2050545"/>
          </a:xfrm>
        </p:grpSpPr>
        <p:sp>
          <p:nvSpPr>
            <p:cNvPr id="109" name="Ovaal 268">
              <a:extLst>
                <a:ext uri="{FF2B5EF4-FFF2-40B4-BE49-F238E27FC236}">
                  <a16:creationId xmlns:a16="http://schemas.microsoft.com/office/drawing/2014/main" id="{0C473790-6AC2-4B35-8A66-1692165DF114}"/>
                </a:ext>
              </a:extLst>
            </p:cNvPr>
            <p:cNvSpPr/>
            <p:nvPr/>
          </p:nvSpPr>
          <p:spPr>
            <a:xfrm>
              <a:off x="5665743" y="1600978"/>
              <a:ext cx="2050545" cy="2050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0" name="Ovaal 268">
              <a:extLst>
                <a:ext uri="{FF2B5EF4-FFF2-40B4-BE49-F238E27FC236}">
                  <a16:creationId xmlns:a16="http://schemas.microsoft.com/office/drawing/2014/main" id="{5A6BF87A-B09B-480D-89FA-B60B545A5E97}"/>
                </a:ext>
              </a:extLst>
            </p:cNvPr>
            <p:cNvSpPr/>
            <p:nvPr/>
          </p:nvSpPr>
          <p:spPr>
            <a:xfrm>
              <a:off x="5740647" y="1675882"/>
              <a:ext cx="1900737" cy="190073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93117BE9-9B0E-483E-9B67-B795005EC673}"/>
                </a:ext>
              </a:extLst>
            </p:cNvPr>
            <p:cNvSpPr/>
            <p:nvPr/>
          </p:nvSpPr>
          <p:spPr>
            <a:xfrm>
              <a:off x="5916037" y="2236537"/>
              <a:ext cx="1549400" cy="975331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2" name="Google Shape;349;p22">
              <a:extLst>
                <a:ext uri="{FF2B5EF4-FFF2-40B4-BE49-F238E27FC236}">
                  <a16:creationId xmlns:a16="http://schemas.microsoft.com/office/drawing/2014/main" id="{3BD09040-B55D-430B-859D-7DAA02664063}"/>
                </a:ext>
              </a:extLst>
            </p:cNvPr>
            <p:cNvSpPr/>
            <p:nvPr/>
          </p:nvSpPr>
          <p:spPr>
            <a:xfrm>
              <a:off x="6029708" y="1749500"/>
              <a:ext cx="1373070" cy="5652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000" b="1" kern="0" dirty="0">
                  <a:solidFill>
                    <a:srgbClr val="C0000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SUM</a:t>
              </a:r>
              <a:endParaRPr sz="2000" b="1" kern="0" dirty="0">
                <a:solidFill>
                  <a:srgbClr val="C0000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graphicFrame>
          <p:nvGraphicFramePr>
            <p:cNvPr id="113" name="Chart 112">
              <a:extLst>
                <a:ext uri="{FF2B5EF4-FFF2-40B4-BE49-F238E27FC236}">
                  <a16:creationId xmlns:a16="http://schemas.microsoft.com/office/drawing/2014/main" id="{4A5C6BAC-49BB-41A6-A343-F6CC2E8D6E9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80883668"/>
                </p:ext>
              </p:extLst>
            </p:nvPr>
          </p:nvGraphicFramePr>
          <p:xfrm>
            <a:off x="6096000" y="2342640"/>
            <a:ext cx="1193106" cy="8080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610A7535-B472-472B-A6DC-AC0EF867ADBC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848CBED-A825-47D6-B792-D15309E4E58A}"/>
              </a:ext>
            </a:extLst>
          </p:cNvPr>
          <p:cNvSpPr txBox="1"/>
          <p:nvPr/>
        </p:nvSpPr>
        <p:spPr>
          <a:xfrm>
            <a:off x="874713" y="1074167"/>
            <a:ext cx="9714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u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451E6-979A-45C4-8F05-FCD9CEFFFF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1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5644134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ECD613E-EB4C-4027-AEDE-8125BAE6644A}"/>
              </a:ext>
            </a:extLst>
          </p:cNvPr>
          <p:cNvSpPr/>
          <p:nvPr/>
        </p:nvSpPr>
        <p:spPr>
          <a:xfrm>
            <a:off x="8299938" y="1853179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3F53141-E6BA-4A3F-8832-EC12D4243267}"/>
              </a:ext>
            </a:extLst>
          </p:cNvPr>
          <p:cNvSpPr/>
          <p:nvPr/>
        </p:nvSpPr>
        <p:spPr>
          <a:xfrm>
            <a:off x="8036169" y="212340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D0E633F6-77F9-47D7-9454-F99F33B44885}"/>
              </a:ext>
            </a:extLst>
          </p:cNvPr>
          <p:cNvSpPr/>
          <p:nvPr/>
        </p:nvSpPr>
        <p:spPr>
          <a:xfrm>
            <a:off x="8519746" y="212340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8227213-44AB-4A10-8E37-9F5B8824BCBA}"/>
              </a:ext>
            </a:extLst>
          </p:cNvPr>
          <p:cNvSpPr/>
          <p:nvPr/>
        </p:nvSpPr>
        <p:spPr>
          <a:xfrm>
            <a:off x="7353299" y="2723352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6979616-8223-4DF6-8834-8AE5B5A15985}"/>
              </a:ext>
            </a:extLst>
          </p:cNvPr>
          <p:cNvSpPr/>
          <p:nvPr/>
        </p:nvSpPr>
        <p:spPr>
          <a:xfrm>
            <a:off x="7211156" y="311543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341CEDDC-F246-463C-8A9C-1FB829C56E82}"/>
              </a:ext>
            </a:extLst>
          </p:cNvPr>
          <p:cNvSpPr/>
          <p:nvPr/>
        </p:nvSpPr>
        <p:spPr>
          <a:xfrm>
            <a:off x="7946780" y="2926069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293C19B-647E-4193-B716-87EA4E72BE8E}"/>
              </a:ext>
            </a:extLst>
          </p:cNvPr>
          <p:cNvSpPr/>
          <p:nvPr/>
        </p:nvSpPr>
        <p:spPr>
          <a:xfrm>
            <a:off x="9017974" y="3685431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65C8600-D032-4D79-A4FC-5089F6ECAFCE}"/>
              </a:ext>
            </a:extLst>
          </p:cNvPr>
          <p:cNvSpPr/>
          <p:nvPr/>
        </p:nvSpPr>
        <p:spPr>
          <a:xfrm>
            <a:off x="8937379" y="2833256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70F8A24-4EC9-497F-95F2-3C052E3E01A8}"/>
              </a:ext>
            </a:extLst>
          </p:cNvPr>
          <p:cNvSpPr/>
          <p:nvPr/>
        </p:nvSpPr>
        <p:spPr>
          <a:xfrm>
            <a:off x="8190034" y="3889118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CAE75F1-FE37-479F-800E-77DD640809B2}"/>
              </a:ext>
            </a:extLst>
          </p:cNvPr>
          <p:cNvSpPr/>
          <p:nvPr/>
        </p:nvSpPr>
        <p:spPr>
          <a:xfrm>
            <a:off x="7581900" y="4206537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2F8B48-A3B7-4EBA-BF48-BDC6C4553C1A}"/>
              </a:ext>
            </a:extLst>
          </p:cNvPr>
          <p:cNvSpPr/>
          <p:nvPr/>
        </p:nvSpPr>
        <p:spPr>
          <a:xfrm>
            <a:off x="8056684" y="437139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6721277-A7E5-4140-B3EB-8D47E04C0EEC}"/>
              </a:ext>
            </a:extLst>
          </p:cNvPr>
          <p:cNvSpPr/>
          <p:nvPr/>
        </p:nvSpPr>
        <p:spPr>
          <a:xfrm>
            <a:off x="7726972" y="4561733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8682008-EEE3-4863-8A52-276E06C4CAA4}"/>
              </a:ext>
            </a:extLst>
          </p:cNvPr>
          <p:cNvSpPr/>
          <p:nvPr/>
        </p:nvSpPr>
        <p:spPr>
          <a:xfrm>
            <a:off x="9047283" y="4371392"/>
            <a:ext cx="219808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13AE0AD-6FA3-40B2-AF18-A67063ED8AFB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550039-0F06-439D-9C5F-14E5CE72961F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817A674-27A3-4DC5-A3CE-3BAC4A753F81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34" name="Oval 138">
              <a:extLst>
                <a:ext uri="{FF2B5EF4-FFF2-40B4-BE49-F238E27FC236}">
                  <a16:creationId xmlns:a16="http://schemas.microsoft.com/office/drawing/2014/main" id="{844EDD87-3888-4590-BA8C-DEDBA1B95FCB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5" name="TextBox 139">
              <a:extLst>
                <a:ext uri="{FF2B5EF4-FFF2-40B4-BE49-F238E27FC236}">
                  <a16:creationId xmlns:a16="http://schemas.microsoft.com/office/drawing/2014/main" id="{65E449F5-23B3-41A3-A36D-EB727E8F3D79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36" name="TextBox 34">
              <a:extLst>
                <a:ext uri="{FF2B5EF4-FFF2-40B4-BE49-F238E27FC236}">
                  <a16:creationId xmlns:a16="http://schemas.microsoft.com/office/drawing/2014/main" id="{290562B7-4281-4997-B79F-90F44C7C94D3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" name="Oval 138">
              <a:extLst>
                <a:ext uri="{FF2B5EF4-FFF2-40B4-BE49-F238E27FC236}">
                  <a16:creationId xmlns:a16="http://schemas.microsoft.com/office/drawing/2014/main" id="{722CCF91-C6A1-4CE5-9090-6510778FF4FF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8" name="TextBox 139">
              <a:extLst>
                <a:ext uri="{FF2B5EF4-FFF2-40B4-BE49-F238E27FC236}">
                  <a16:creationId xmlns:a16="http://schemas.microsoft.com/office/drawing/2014/main" id="{F49C24B9-A2CF-4C92-8463-D24C299F139A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39" name="TextBox 34">
              <a:extLst>
                <a:ext uri="{FF2B5EF4-FFF2-40B4-BE49-F238E27FC236}">
                  <a16:creationId xmlns:a16="http://schemas.microsoft.com/office/drawing/2014/main" id="{5D673B0B-2153-42C0-8007-E875C8492EEA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" name="Oval 138">
              <a:extLst>
                <a:ext uri="{FF2B5EF4-FFF2-40B4-BE49-F238E27FC236}">
                  <a16:creationId xmlns:a16="http://schemas.microsoft.com/office/drawing/2014/main" id="{4B7B6E40-825E-4BBD-9955-7FF6FE2EAD83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1" name="TextBox 139">
              <a:extLst>
                <a:ext uri="{FF2B5EF4-FFF2-40B4-BE49-F238E27FC236}">
                  <a16:creationId xmlns:a16="http://schemas.microsoft.com/office/drawing/2014/main" id="{7B44C18F-E129-444B-83D3-FCB04A87180D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42" name="TextBox 34">
              <a:extLst>
                <a:ext uri="{FF2B5EF4-FFF2-40B4-BE49-F238E27FC236}">
                  <a16:creationId xmlns:a16="http://schemas.microsoft.com/office/drawing/2014/main" id="{0CDEBAAF-BE64-4B7A-811C-A228E1DC1D7D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3" name="Diamond 42">
            <a:extLst>
              <a:ext uri="{FF2B5EF4-FFF2-40B4-BE49-F238E27FC236}">
                <a16:creationId xmlns:a16="http://schemas.microsoft.com/office/drawing/2014/main" id="{6240AF04-3AE3-4443-A5D9-9BF06676DA1A}"/>
              </a:ext>
            </a:extLst>
          </p:cNvPr>
          <p:cNvSpPr/>
          <p:nvPr/>
        </p:nvSpPr>
        <p:spPr>
          <a:xfrm>
            <a:off x="348800" y="2234017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322B40-6335-47B4-8480-B593E08D1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5162293"/>
      </p:ext>
    </p:extLst>
  </p:cSld>
  <p:clrMapOvr>
    <a:masterClrMapping/>
  </p:clrMapOvr>
  <p:transition spd="slow"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ECD613E-EB4C-4027-AEDE-8125BAE6644A}"/>
              </a:ext>
            </a:extLst>
          </p:cNvPr>
          <p:cNvSpPr/>
          <p:nvPr/>
        </p:nvSpPr>
        <p:spPr>
          <a:xfrm>
            <a:off x="8218668" y="2300462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3F53141-E6BA-4A3F-8832-EC12D4243267}"/>
              </a:ext>
            </a:extLst>
          </p:cNvPr>
          <p:cNvSpPr/>
          <p:nvPr/>
        </p:nvSpPr>
        <p:spPr>
          <a:xfrm>
            <a:off x="8019646" y="2354804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D0E633F6-77F9-47D7-9454-F99F33B44885}"/>
              </a:ext>
            </a:extLst>
          </p:cNvPr>
          <p:cNvSpPr/>
          <p:nvPr/>
        </p:nvSpPr>
        <p:spPr>
          <a:xfrm>
            <a:off x="8414005" y="2258276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8227213-44AB-4A10-8E37-9F5B8824BCBA}"/>
              </a:ext>
            </a:extLst>
          </p:cNvPr>
          <p:cNvSpPr/>
          <p:nvPr/>
        </p:nvSpPr>
        <p:spPr>
          <a:xfrm>
            <a:off x="7365455" y="2970193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96979616-8223-4DF6-8834-8AE5B5A15985}"/>
              </a:ext>
            </a:extLst>
          </p:cNvPr>
          <p:cNvSpPr/>
          <p:nvPr/>
        </p:nvSpPr>
        <p:spPr>
          <a:xfrm>
            <a:off x="7201448" y="3368483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341CEDDC-F246-463C-8A9C-1FB829C56E82}"/>
              </a:ext>
            </a:extLst>
          </p:cNvPr>
          <p:cNvSpPr/>
          <p:nvPr/>
        </p:nvSpPr>
        <p:spPr>
          <a:xfrm>
            <a:off x="7481552" y="2755536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293C19B-647E-4193-B716-87EA4E72BE8E}"/>
              </a:ext>
            </a:extLst>
          </p:cNvPr>
          <p:cNvSpPr/>
          <p:nvPr/>
        </p:nvSpPr>
        <p:spPr>
          <a:xfrm>
            <a:off x="9663563" y="4084171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65C8600-D032-4D79-A4FC-5089F6ECAFCE}"/>
              </a:ext>
            </a:extLst>
          </p:cNvPr>
          <p:cNvSpPr/>
          <p:nvPr/>
        </p:nvSpPr>
        <p:spPr>
          <a:xfrm>
            <a:off x="9339847" y="2555668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70F8A24-4EC9-497F-95F2-3C052E3E01A8}"/>
              </a:ext>
            </a:extLst>
          </p:cNvPr>
          <p:cNvSpPr/>
          <p:nvPr/>
        </p:nvSpPr>
        <p:spPr>
          <a:xfrm>
            <a:off x="7503666" y="4373950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CAE75F1-FE37-479F-800E-77DD640809B2}"/>
              </a:ext>
            </a:extLst>
          </p:cNvPr>
          <p:cNvSpPr/>
          <p:nvPr/>
        </p:nvSpPr>
        <p:spPr>
          <a:xfrm>
            <a:off x="7333209" y="4091175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2F8B48-A3B7-4EBA-BF48-BDC6C4553C1A}"/>
              </a:ext>
            </a:extLst>
          </p:cNvPr>
          <p:cNvSpPr/>
          <p:nvPr/>
        </p:nvSpPr>
        <p:spPr>
          <a:xfrm>
            <a:off x="7887346" y="4669101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6721277-A7E5-4140-B3EB-8D47E04C0EEC}"/>
              </a:ext>
            </a:extLst>
          </p:cNvPr>
          <p:cNvSpPr/>
          <p:nvPr/>
        </p:nvSpPr>
        <p:spPr>
          <a:xfrm>
            <a:off x="7698082" y="4566857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8682008-EEE3-4863-8A52-276E06C4CAA4}"/>
              </a:ext>
            </a:extLst>
          </p:cNvPr>
          <p:cNvSpPr/>
          <p:nvPr/>
        </p:nvSpPr>
        <p:spPr>
          <a:xfrm>
            <a:off x="9270732" y="4589087"/>
            <a:ext cx="138210" cy="13821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1B76EE-6D25-4367-9E99-312E99254F7A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F974BB4-B440-4C9E-B09F-2D3CA5E615AC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C7D3825-244C-4EAA-B392-E50DF2A77DB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55" name="Oval 138">
              <a:extLst>
                <a:ext uri="{FF2B5EF4-FFF2-40B4-BE49-F238E27FC236}">
                  <a16:creationId xmlns:a16="http://schemas.microsoft.com/office/drawing/2014/main" id="{2BD137C4-B835-4972-ADC1-88F7AAB4491C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6" name="TextBox 139">
              <a:extLst>
                <a:ext uri="{FF2B5EF4-FFF2-40B4-BE49-F238E27FC236}">
                  <a16:creationId xmlns:a16="http://schemas.microsoft.com/office/drawing/2014/main" id="{AFBA5804-677D-44B2-8243-CE9C2FECC701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57" name="TextBox 34">
              <a:extLst>
                <a:ext uri="{FF2B5EF4-FFF2-40B4-BE49-F238E27FC236}">
                  <a16:creationId xmlns:a16="http://schemas.microsoft.com/office/drawing/2014/main" id="{866F14F8-A533-458C-99FD-78B25FA20AFD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8" name="Oval 138">
              <a:extLst>
                <a:ext uri="{FF2B5EF4-FFF2-40B4-BE49-F238E27FC236}">
                  <a16:creationId xmlns:a16="http://schemas.microsoft.com/office/drawing/2014/main" id="{DEA6C5E4-1FC3-441C-A58A-1B8F90FA6F3D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9" name="TextBox 139">
              <a:extLst>
                <a:ext uri="{FF2B5EF4-FFF2-40B4-BE49-F238E27FC236}">
                  <a16:creationId xmlns:a16="http://schemas.microsoft.com/office/drawing/2014/main" id="{17753020-9C5A-4434-80B5-A75DF64C2B1E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60" name="TextBox 34">
              <a:extLst>
                <a:ext uri="{FF2B5EF4-FFF2-40B4-BE49-F238E27FC236}">
                  <a16:creationId xmlns:a16="http://schemas.microsoft.com/office/drawing/2014/main" id="{C82FCDE9-0208-4FB9-8454-25F28965A800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1" name="Oval 138">
              <a:extLst>
                <a:ext uri="{FF2B5EF4-FFF2-40B4-BE49-F238E27FC236}">
                  <a16:creationId xmlns:a16="http://schemas.microsoft.com/office/drawing/2014/main" id="{993424B0-63BB-475E-99F7-750E8620397C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2" name="TextBox 139">
              <a:extLst>
                <a:ext uri="{FF2B5EF4-FFF2-40B4-BE49-F238E27FC236}">
                  <a16:creationId xmlns:a16="http://schemas.microsoft.com/office/drawing/2014/main" id="{E35A7532-C9EF-4D78-9208-F88D0B79184B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63" name="TextBox 34">
              <a:extLst>
                <a:ext uri="{FF2B5EF4-FFF2-40B4-BE49-F238E27FC236}">
                  <a16:creationId xmlns:a16="http://schemas.microsoft.com/office/drawing/2014/main" id="{94FF612E-4BF8-4009-83E1-1E05FAAAE615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64" name="Diamond 63">
            <a:extLst>
              <a:ext uri="{FF2B5EF4-FFF2-40B4-BE49-F238E27FC236}">
                <a16:creationId xmlns:a16="http://schemas.microsoft.com/office/drawing/2014/main" id="{58362A98-AC23-402A-8445-D6B10BA111D0}"/>
              </a:ext>
            </a:extLst>
          </p:cNvPr>
          <p:cNvSpPr/>
          <p:nvPr/>
        </p:nvSpPr>
        <p:spPr>
          <a:xfrm>
            <a:off x="348800" y="2234017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6E78D0-2963-45A7-A1CA-D7BFD261D5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1120907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3A2DF14-2746-411F-935C-97C92E46EA5E}"/>
              </a:ext>
            </a:extLst>
          </p:cNvPr>
          <p:cNvGrpSpPr/>
          <p:nvPr/>
        </p:nvGrpSpPr>
        <p:grpSpPr>
          <a:xfrm>
            <a:off x="5923729" y="2258276"/>
            <a:ext cx="2600325" cy="2549035"/>
            <a:chOff x="7201448" y="2258276"/>
            <a:chExt cx="2600325" cy="254903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ECD613E-EB4C-4027-AEDE-8125BAE6644A}"/>
                </a:ext>
              </a:extLst>
            </p:cNvPr>
            <p:cNvSpPr/>
            <p:nvPr/>
          </p:nvSpPr>
          <p:spPr>
            <a:xfrm>
              <a:off x="8218668" y="2300462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D3F53141-E6BA-4A3F-8832-EC12D4243267}"/>
                </a:ext>
              </a:extLst>
            </p:cNvPr>
            <p:cNvSpPr/>
            <p:nvPr/>
          </p:nvSpPr>
          <p:spPr>
            <a:xfrm>
              <a:off x="8019646" y="2354804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0E633F6-77F9-47D7-9454-F99F33B44885}"/>
                </a:ext>
              </a:extLst>
            </p:cNvPr>
            <p:cNvSpPr/>
            <p:nvPr/>
          </p:nvSpPr>
          <p:spPr>
            <a:xfrm>
              <a:off x="8414005" y="2258276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78227213-44AB-4A10-8E37-9F5B8824BCBA}"/>
                </a:ext>
              </a:extLst>
            </p:cNvPr>
            <p:cNvSpPr/>
            <p:nvPr/>
          </p:nvSpPr>
          <p:spPr>
            <a:xfrm>
              <a:off x="7365455" y="2970193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6979616-8223-4DF6-8834-8AE5B5A15985}"/>
                </a:ext>
              </a:extLst>
            </p:cNvPr>
            <p:cNvSpPr/>
            <p:nvPr/>
          </p:nvSpPr>
          <p:spPr>
            <a:xfrm>
              <a:off x="7201448" y="3368483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341CEDDC-F246-463C-8A9C-1FB829C56E82}"/>
                </a:ext>
              </a:extLst>
            </p:cNvPr>
            <p:cNvSpPr/>
            <p:nvPr/>
          </p:nvSpPr>
          <p:spPr>
            <a:xfrm>
              <a:off x="7481552" y="2755536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7293C19B-647E-4193-B716-87EA4E72BE8E}"/>
                </a:ext>
              </a:extLst>
            </p:cNvPr>
            <p:cNvSpPr/>
            <p:nvPr/>
          </p:nvSpPr>
          <p:spPr>
            <a:xfrm>
              <a:off x="9663563" y="4084171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565C8600-D032-4D79-A4FC-5089F6ECAFCE}"/>
                </a:ext>
              </a:extLst>
            </p:cNvPr>
            <p:cNvSpPr/>
            <p:nvPr/>
          </p:nvSpPr>
          <p:spPr>
            <a:xfrm>
              <a:off x="9339847" y="2555668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70F8A24-4EC9-497F-95F2-3C052E3E01A8}"/>
                </a:ext>
              </a:extLst>
            </p:cNvPr>
            <p:cNvSpPr/>
            <p:nvPr/>
          </p:nvSpPr>
          <p:spPr>
            <a:xfrm>
              <a:off x="7503666" y="4373950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ECAE75F1-FE37-479F-800E-77DD640809B2}"/>
                </a:ext>
              </a:extLst>
            </p:cNvPr>
            <p:cNvSpPr/>
            <p:nvPr/>
          </p:nvSpPr>
          <p:spPr>
            <a:xfrm>
              <a:off x="7333209" y="4091175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A2F8B48-A3B7-4EBA-BF48-BDC6C4553C1A}"/>
                </a:ext>
              </a:extLst>
            </p:cNvPr>
            <p:cNvSpPr/>
            <p:nvPr/>
          </p:nvSpPr>
          <p:spPr>
            <a:xfrm>
              <a:off x="7887346" y="4669101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6721277-A7E5-4140-B3EB-8D47E04C0EEC}"/>
                </a:ext>
              </a:extLst>
            </p:cNvPr>
            <p:cNvSpPr/>
            <p:nvPr/>
          </p:nvSpPr>
          <p:spPr>
            <a:xfrm>
              <a:off x="7698082" y="4566857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A8682008-EEE3-4863-8A52-276E06C4CAA4}"/>
                </a:ext>
              </a:extLst>
            </p:cNvPr>
            <p:cNvSpPr/>
            <p:nvPr/>
          </p:nvSpPr>
          <p:spPr>
            <a:xfrm>
              <a:off x="9270732" y="4589087"/>
              <a:ext cx="138210" cy="13821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F40F964-5FD1-4981-9CB5-1C76C444967C}"/>
              </a:ext>
            </a:extLst>
          </p:cNvPr>
          <p:cNvGrpSpPr/>
          <p:nvPr/>
        </p:nvGrpSpPr>
        <p:grpSpPr>
          <a:xfrm>
            <a:off x="5817884" y="2173912"/>
            <a:ext cx="2913223" cy="2913223"/>
            <a:chOff x="5528184" y="2173912"/>
            <a:chExt cx="2913223" cy="2913223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D055266-96B7-47BC-8102-C02A368E392D}"/>
                </a:ext>
              </a:extLst>
            </p:cNvPr>
            <p:cNvSpPr/>
            <p:nvPr/>
          </p:nvSpPr>
          <p:spPr>
            <a:xfrm>
              <a:off x="5528184" y="2173912"/>
              <a:ext cx="2913223" cy="2913223"/>
            </a:xfrm>
            <a:prstGeom prst="ellipse">
              <a:avLst/>
            </a:prstGeom>
            <a:solidFill>
              <a:srgbClr val="F7BFBF">
                <a:alpha val="10000"/>
              </a:srgbClr>
            </a:solidFill>
            <a:ln>
              <a:solidFill>
                <a:srgbClr val="E42828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36EE006C-CEB1-4384-9963-DC3F2148C2BC}"/>
                    </a:ext>
                  </a:extLst>
                </p:cNvPr>
                <p:cNvSpPr txBox="1"/>
                <p:nvPr/>
              </p:nvSpPr>
              <p:spPr>
                <a:xfrm>
                  <a:off x="6424205" y="3399690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36EE006C-CEB1-4384-9963-DC3F2148C2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24205" y="3399690"/>
                  <a:ext cx="1121179" cy="461665"/>
                </a:xfrm>
                <a:prstGeom prst="rect">
                  <a:avLst/>
                </a:prstGeom>
                <a:blipFill>
                  <a:blip r:embed="rId4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734328-F9D8-45DB-B56F-A7FEA95518FF}"/>
              </a:ext>
            </a:extLst>
          </p:cNvPr>
          <p:cNvGrpSpPr/>
          <p:nvPr/>
        </p:nvGrpSpPr>
        <p:grpSpPr>
          <a:xfrm>
            <a:off x="5811474" y="2072147"/>
            <a:ext cx="1833892" cy="2799711"/>
            <a:chOff x="5521774" y="2072147"/>
            <a:chExt cx="1833892" cy="2799711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45F0F2-11A7-4001-ACB5-70BD83B13104}"/>
                </a:ext>
              </a:extLst>
            </p:cNvPr>
            <p:cNvSpPr/>
            <p:nvPr/>
          </p:nvSpPr>
          <p:spPr>
            <a:xfrm rot="480623">
              <a:off x="5521774" y="2072147"/>
              <a:ext cx="1833892" cy="2799711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ECB3A67D-A7D3-4C01-8284-69354E2874B0}"/>
                    </a:ext>
                  </a:extLst>
                </p:cNvPr>
                <p:cNvSpPr txBox="1"/>
                <p:nvPr/>
              </p:nvSpPr>
              <p:spPr>
                <a:xfrm>
                  <a:off x="5936246" y="2676414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ECB3A67D-A7D3-4C01-8284-69354E2874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36246" y="2676414"/>
                  <a:ext cx="1121179" cy="461665"/>
                </a:xfrm>
                <a:prstGeom prst="rect">
                  <a:avLst/>
                </a:prstGeom>
                <a:blipFill>
                  <a:blip r:embed="rId5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D12B3E4-79DF-47FD-9C02-38F92EDC7FA7}"/>
              </a:ext>
            </a:extLst>
          </p:cNvPr>
          <p:cNvGrpSpPr/>
          <p:nvPr/>
        </p:nvGrpSpPr>
        <p:grpSpPr>
          <a:xfrm>
            <a:off x="7637973" y="2467402"/>
            <a:ext cx="1121179" cy="2339909"/>
            <a:chOff x="7348273" y="2467402"/>
            <a:chExt cx="1121179" cy="233990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24C358D-F402-4507-A7A3-A86C0E8B85FF}"/>
                </a:ext>
              </a:extLst>
            </p:cNvPr>
            <p:cNvSpPr/>
            <p:nvPr/>
          </p:nvSpPr>
          <p:spPr>
            <a:xfrm>
              <a:off x="7459739" y="2467402"/>
              <a:ext cx="805776" cy="233990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495CEC26-ECCE-4466-8137-E77D2C6A63A3}"/>
                    </a:ext>
                  </a:extLst>
                </p:cNvPr>
                <p:cNvSpPr txBox="1"/>
                <p:nvPr/>
              </p:nvSpPr>
              <p:spPr>
                <a:xfrm>
                  <a:off x="7348273" y="2862543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495CEC26-ECCE-4466-8137-E77D2C6A63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48273" y="2862543"/>
                  <a:ext cx="1121179" cy="461665"/>
                </a:xfrm>
                <a:prstGeom prst="rect">
                  <a:avLst/>
                </a:prstGeom>
                <a:blipFill>
                  <a:blip r:embed="rId6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0F05A69-235C-4607-BCCE-BA90C9E0FED9}"/>
              </a:ext>
            </a:extLst>
          </p:cNvPr>
          <p:cNvGrpSpPr/>
          <p:nvPr/>
        </p:nvGrpSpPr>
        <p:grpSpPr>
          <a:xfrm>
            <a:off x="6644801" y="1734795"/>
            <a:ext cx="1121179" cy="823398"/>
            <a:chOff x="6355101" y="1734795"/>
            <a:chExt cx="1121179" cy="82339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171BE1A-7F7D-4A2F-9FA0-DCA1C5A9C6AF}"/>
                </a:ext>
              </a:extLst>
            </p:cNvPr>
            <p:cNvSpPr/>
            <p:nvPr/>
          </p:nvSpPr>
          <p:spPr>
            <a:xfrm rot="20659707">
              <a:off x="6376136" y="2236298"/>
              <a:ext cx="696442" cy="321895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E7E1FAA7-46CC-4C5B-9786-6AFAE1425523}"/>
                    </a:ext>
                  </a:extLst>
                </p:cNvPr>
                <p:cNvSpPr txBox="1"/>
                <p:nvPr/>
              </p:nvSpPr>
              <p:spPr>
                <a:xfrm>
                  <a:off x="6355101" y="1734795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E7E1FAA7-46CC-4C5B-9786-6AFAE142552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55101" y="1734795"/>
                  <a:ext cx="1121179" cy="461665"/>
                </a:xfrm>
                <a:prstGeom prst="rect">
                  <a:avLst/>
                </a:prstGeom>
                <a:blipFill>
                  <a:blip r:embed="rId7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737C4D1-9DA6-45DD-83E3-421427083D43}"/>
              </a:ext>
            </a:extLst>
          </p:cNvPr>
          <p:cNvGrpSpPr/>
          <p:nvPr/>
        </p:nvGrpSpPr>
        <p:grpSpPr>
          <a:xfrm>
            <a:off x="5072521" y="2650598"/>
            <a:ext cx="1212524" cy="966740"/>
            <a:chOff x="5574035" y="2106443"/>
            <a:chExt cx="1212524" cy="96674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0C01C6-98E9-4A9F-9899-DEF4541632BC}"/>
                </a:ext>
              </a:extLst>
            </p:cNvPr>
            <p:cNvSpPr/>
            <p:nvPr/>
          </p:nvSpPr>
          <p:spPr>
            <a:xfrm rot="17563050">
              <a:off x="6153365" y="2439989"/>
              <a:ext cx="966740" cy="299648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F102A25-AACD-4CE0-9658-8A34DA4B3AF1}"/>
                    </a:ext>
                  </a:extLst>
                </p:cNvPr>
                <p:cNvSpPr txBox="1"/>
                <p:nvPr/>
              </p:nvSpPr>
              <p:spPr>
                <a:xfrm>
                  <a:off x="5574035" y="2268594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F102A25-AACD-4CE0-9658-8A34DA4B3AF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74035" y="2268594"/>
                  <a:ext cx="1121179" cy="461665"/>
                </a:xfrm>
                <a:prstGeom prst="rect">
                  <a:avLst/>
                </a:prstGeom>
                <a:blipFill>
                  <a:blip r:embed="rId8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64FDA82-40E7-49EE-B547-791CC5E12D74}"/>
              </a:ext>
            </a:extLst>
          </p:cNvPr>
          <p:cNvGrpSpPr/>
          <p:nvPr/>
        </p:nvGrpSpPr>
        <p:grpSpPr>
          <a:xfrm>
            <a:off x="5560718" y="3865509"/>
            <a:ext cx="1121179" cy="1255441"/>
            <a:chOff x="5163313" y="1786221"/>
            <a:chExt cx="1121179" cy="125544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7EEEA87-3561-4555-A9F1-AE4EE5377D74}"/>
                </a:ext>
              </a:extLst>
            </p:cNvPr>
            <p:cNvSpPr/>
            <p:nvPr/>
          </p:nvSpPr>
          <p:spPr>
            <a:xfrm rot="2751190">
              <a:off x="5410145" y="2187881"/>
              <a:ext cx="1127398" cy="324077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A92A0D6-6D25-472F-9CCB-4B754F41D721}"/>
                    </a:ext>
                  </a:extLst>
                </p:cNvPr>
                <p:cNvSpPr txBox="1"/>
                <p:nvPr/>
              </p:nvSpPr>
              <p:spPr>
                <a:xfrm>
                  <a:off x="5163313" y="2579997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A92A0D6-6D25-472F-9CCB-4B754F41D72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63313" y="2579997"/>
                  <a:ext cx="1121179" cy="461665"/>
                </a:xfrm>
                <a:prstGeom prst="rect">
                  <a:avLst/>
                </a:prstGeom>
                <a:blipFill>
                  <a:blip r:embed="rId9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581D700-B9D5-4779-9A25-2BE0737FD2AC}"/>
              </a:ext>
            </a:extLst>
          </p:cNvPr>
          <p:cNvGrpSpPr/>
          <p:nvPr/>
        </p:nvGrpSpPr>
        <p:grpSpPr>
          <a:xfrm>
            <a:off x="8044579" y="3925212"/>
            <a:ext cx="1121179" cy="1038642"/>
            <a:chOff x="5331922" y="1650625"/>
            <a:chExt cx="1121179" cy="1038642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651A111-C02B-4388-B537-631FFA90E626}"/>
                </a:ext>
              </a:extLst>
            </p:cNvPr>
            <p:cNvSpPr/>
            <p:nvPr/>
          </p:nvSpPr>
          <p:spPr>
            <a:xfrm rot="18795355">
              <a:off x="5116930" y="1940052"/>
              <a:ext cx="902932" cy="324077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B7CF73D-A736-4310-B40A-F777798B317E}"/>
                    </a:ext>
                  </a:extLst>
                </p:cNvPr>
                <p:cNvSpPr txBox="1"/>
                <p:nvPr/>
              </p:nvSpPr>
              <p:spPr>
                <a:xfrm>
                  <a:off x="5331922" y="2227602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4B7CF73D-A736-4310-B40A-F777798B317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31922" y="2227602"/>
                  <a:ext cx="1121179" cy="461665"/>
                </a:xfrm>
                <a:prstGeom prst="rect">
                  <a:avLst/>
                </a:prstGeom>
                <a:blipFill>
                  <a:blip r:embed="rId10"/>
                  <a:stretch>
                    <a:fillRect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D0916F-5F13-42CF-8BFE-8EDA01C1528F}"/>
              </a:ext>
            </a:extLst>
          </p:cNvPr>
          <p:cNvGrpSpPr/>
          <p:nvPr/>
        </p:nvGrpSpPr>
        <p:grpSpPr>
          <a:xfrm>
            <a:off x="7958328" y="2146167"/>
            <a:ext cx="1121179" cy="620088"/>
            <a:chOff x="4222386" y="1865241"/>
            <a:chExt cx="1121179" cy="620088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A94DCA5-5BF2-4A12-AA12-290274D7531F}"/>
                </a:ext>
              </a:extLst>
            </p:cNvPr>
            <p:cNvSpPr/>
            <p:nvPr/>
          </p:nvSpPr>
          <p:spPr>
            <a:xfrm>
              <a:off x="4250647" y="2213293"/>
              <a:ext cx="296465" cy="272036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498AF3AD-22DA-492F-B996-43FD733199D8}"/>
                    </a:ext>
                  </a:extLst>
                </p:cNvPr>
                <p:cNvSpPr txBox="1"/>
                <p:nvPr/>
              </p:nvSpPr>
              <p:spPr>
                <a:xfrm>
                  <a:off x="4222386" y="1865241"/>
                  <a:ext cx="112117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498AF3AD-22DA-492F-B996-43FD733199D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22386" y="1865241"/>
                  <a:ext cx="1121179" cy="461665"/>
                </a:xfrm>
                <a:prstGeom prst="rect">
                  <a:avLst/>
                </a:prstGeom>
                <a:blipFill>
                  <a:blip r:embed="rId11"/>
                  <a:stretch>
                    <a:fillRect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60C78B-DEEB-42A7-81BD-10B90DE337A1}"/>
              </a:ext>
            </a:extLst>
          </p:cNvPr>
          <p:cNvGrpSpPr/>
          <p:nvPr/>
        </p:nvGrpSpPr>
        <p:grpSpPr>
          <a:xfrm>
            <a:off x="10197070" y="2144058"/>
            <a:ext cx="498867" cy="502215"/>
            <a:chOff x="10197070" y="2144058"/>
            <a:chExt cx="498867" cy="502215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B725F88-FCC6-4E87-A286-E00D228BBD50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rgbClr val="C00000">
                <a:alpha val="10000"/>
              </a:srgbClr>
            </a:solidFill>
            <a:ln>
              <a:solidFill>
                <a:srgbClr val="C819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rgbClr val="C81919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B011790A-F321-416F-9893-268DC189AB04}"/>
                    </a:ext>
                  </a:extLst>
                </p:cNvPr>
                <p:cNvSpPr txBox="1"/>
                <p:nvPr/>
              </p:nvSpPr>
              <p:spPr>
                <a:xfrm>
                  <a:off x="10197070" y="2144058"/>
                  <a:ext cx="3548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rgbClr val="C81919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rgbClr val="C81919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B011790A-F321-416F-9893-268DC189AB0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7070" y="2144058"/>
                  <a:ext cx="354805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5172" r="-29310"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7" name="TextBox 191">
            <a:extLst>
              <a:ext uri="{FF2B5EF4-FFF2-40B4-BE49-F238E27FC236}">
                <a16:creationId xmlns:a16="http://schemas.microsoft.com/office/drawing/2014/main" id="{7101D1E1-EF43-4CAB-82F3-1E9B1512269B}"/>
              </a:ext>
            </a:extLst>
          </p:cNvPr>
          <p:cNvSpPr txBox="1"/>
          <p:nvPr/>
        </p:nvSpPr>
        <p:spPr>
          <a:xfrm>
            <a:off x="9771173" y="1602887"/>
            <a:ext cx="151350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>
                <a:solidFill>
                  <a:schemeClr val="tx1">
                    <a:lumMod val="75000"/>
                    <a:lumOff val="25000"/>
                  </a:schemeClr>
                </a:solidFill>
              </a:rPr>
              <a:t>Cluster tree</a:t>
            </a:r>
            <a:endParaRPr lang="en-US" sz="2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0D1B187-95F9-4A87-B8F2-12640AD051BD}"/>
              </a:ext>
            </a:extLst>
          </p:cNvPr>
          <p:cNvGrpSpPr/>
          <p:nvPr/>
        </p:nvGrpSpPr>
        <p:grpSpPr>
          <a:xfrm>
            <a:off x="9537771" y="2646273"/>
            <a:ext cx="1856421" cy="549820"/>
            <a:chOff x="9537771" y="2646273"/>
            <a:chExt cx="1856421" cy="549820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614F85E-53E7-44D7-9373-62658DA6C2C8}"/>
                </a:ext>
              </a:extLst>
            </p:cNvPr>
            <p:cNvGrpSpPr/>
            <p:nvPr/>
          </p:nvGrpSpPr>
          <p:grpSpPr>
            <a:xfrm>
              <a:off x="9537771" y="2693878"/>
              <a:ext cx="497260" cy="502215"/>
              <a:chOff x="10198677" y="2144058"/>
              <a:chExt cx="497260" cy="502215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4416B580-1166-4E9A-BD57-2A5BCB5F9AD4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1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0" name="TextBox 69">
                    <a:extLst>
                      <a:ext uri="{FF2B5EF4-FFF2-40B4-BE49-F238E27FC236}">
                        <a16:creationId xmlns:a16="http://schemas.microsoft.com/office/drawing/2014/main" id="{DBFDA35F-9065-44B1-B837-59764CD29ED9}"/>
                      </a:ext>
                    </a:extLst>
                  </p:cNvPr>
                  <p:cNvSpPr txBox="1"/>
                  <p:nvPr/>
                </p:nvSpPr>
                <p:spPr>
                  <a:xfrm>
                    <a:off x="10271499" y="2144058"/>
                    <a:ext cx="104652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NL" sz="2400" dirty="0">
                      <a:solidFill>
                        <a:schemeClr val="accent4">
                          <a:lumMod val="7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0" name="TextBox 69">
                    <a:extLst>
                      <a:ext uri="{FF2B5EF4-FFF2-40B4-BE49-F238E27FC236}">
                        <a16:creationId xmlns:a16="http://schemas.microsoft.com/office/drawing/2014/main" id="{DBFDA35F-9065-44B1-B837-59764CD29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71499" y="2144058"/>
                    <a:ext cx="104652" cy="461665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52941" r="-294118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F519485-090B-4D37-9397-5FB3F39AB87B}"/>
                </a:ext>
              </a:extLst>
            </p:cNvPr>
            <p:cNvGrpSpPr/>
            <p:nvPr/>
          </p:nvGrpSpPr>
          <p:grpSpPr>
            <a:xfrm>
              <a:off x="10896932" y="2684332"/>
              <a:ext cx="497260" cy="502215"/>
              <a:chOff x="10198677" y="2144058"/>
              <a:chExt cx="497260" cy="502215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94A0CCB2-3E6F-45D7-B7F1-46AEE5FF5EDB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1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1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F3D33D54-E48F-42E9-B299-818B5FC61ADB}"/>
                      </a:ext>
                    </a:extLst>
                  </p:cNvPr>
                  <p:cNvSpPr txBox="1"/>
                  <p:nvPr/>
                </p:nvSpPr>
                <p:spPr>
                  <a:xfrm>
                    <a:off x="10259509" y="2144058"/>
                    <a:ext cx="77305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NL" sz="2400" dirty="0">
                      <a:solidFill>
                        <a:schemeClr val="accent4">
                          <a:lumMod val="7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F3D33D54-E48F-42E9-B299-818B5FC61AD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59509" y="2144058"/>
                    <a:ext cx="77305" cy="461665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 l="-100000" r="-450000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FF635E7-B79C-4D5E-9247-082A4C59EA23}"/>
                </a:ext>
              </a:extLst>
            </p:cNvPr>
            <p:cNvCxnSpPr>
              <a:cxnSpLocks/>
              <a:stCxn id="11" idx="4"/>
              <a:endCxn id="69" idx="7"/>
            </p:cNvCxnSpPr>
            <p:nvPr/>
          </p:nvCxnSpPr>
          <p:spPr>
            <a:xfrm flipH="1">
              <a:off x="9962209" y="2646273"/>
              <a:ext cx="485098" cy="125382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8730E1B-D393-4A98-84AC-7843F5DDA286}"/>
                </a:ext>
              </a:extLst>
            </p:cNvPr>
            <p:cNvCxnSpPr>
              <a:cxnSpLocks/>
              <a:stCxn id="11" idx="4"/>
              <a:endCxn id="75" idx="1"/>
            </p:cNvCxnSpPr>
            <p:nvPr/>
          </p:nvCxnSpPr>
          <p:spPr>
            <a:xfrm>
              <a:off x="10447307" y="2646273"/>
              <a:ext cx="522447" cy="11583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70C5BC47-483A-4B1A-8B5B-07FF51E78B6C}"/>
              </a:ext>
            </a:extLst>
          </p:cNvPr>
          <p:cNvGrpSpPr/>
          <p:nvPr/>
        </p:nvGrpSpPr>
        <p:grpSpPr>
          <a:xfrm>
            <a:off x="9136054" y="3186547"/>
            <a:ext cx="2479880" cy="806738"/>
            <a:chOff x="9136054" y="3186547"/>
            <a:chExt cx="2479880" cy="806738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ED3356B7-C4CA-462E-80C3-3282D93DA06D}"/>
                </a:ext>
              </a:extLst>
            </p:cNvPr>
            <p:cNvGrpSpPr/>
            <p:nvPr/>
          </p:nvGrpSpPr>
          <p:grpSpPr>
            <a:xfrm>
              <a:off x="9136054" y="3531620"/>
              <a:ext cx="402748" cy="461665"/>
              <a:chOff x="10198677" y="2091262"/>
              <a:chExt cx="497260" cy="570004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4B48A3F2-66EC-46F3-A63C-78128A9CA214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4" name="TextBox 93">
                    <a:extLst>
                      <a:ext uri="{FF2B5EF4-FFF2-40B4-BE49-F238E27FC236}">
                        <a16:creationId xmlns:a16="http://schemas.microsoft.com/office/drawing/2014/main" id="{D306E86F-CB33-4DEE-B714-6364900FB22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94" name="TextBox 93">
                    <a:extLst>
                      <a:ext uri="{FF2B5EF4-FFF2-40B4-BE49-F238E27FC236}">
                        <a16:creationId xmlns:a16="http://schemas.microsoft.com/office/drawing/2014/main" id="{D306E86F-CB33-4DEE-B714-6364900FB22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CEECF89-49E4-44BA-827B-1D180C3A9961}"/>
                </a:ext>
              </a:extLst>
            </p:cNvPr>
            <p:cNvCxnSpPr>
              <a:cxnSpLocks/>
              <a:stCxn id="69" idx="4"/>
              <a:endCxn id="92" idx="0"/>
            </p:cNvCxnSpPr>
            <p:nvPr/>
          </p:nvCxnSpPr>
          <p:spPr>
            <a:xfrm flipH="1">
              <a:off x="9337428" y="3196093"/>
              <a:ext cx="448973" cy="382301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9ABFF921-F283-4B06-A57B-7BDE38CC4004}"/>
                </a:ext>
              </a:extLst>
            </p:cNvPr>
            <p:cNvGrpSpPr/>
            <p:nvPr/>
          </p:nvGrpSpPr>
          <p:grpSpPr>
            <a:xfrm>
              <a:off x="9594095" y="3531620"/>
              <a:ext cx="402748" cy="461665"/>
              <a:chOff x="10198677" y="2091262"/>
              <a:chExt cx="497260" cy="570004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6DB6BC1-A092-401D-B83D-76DDB3975099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8" name="TextBox 97">
                    <a:extLst>
                      <a:ext uri="{FF2B5EF4-FFF2-40B4-BE49-F238E27FC236}">
                        <a16:creationId xmlns:a16="http://schemas.microsoft.com/office/drawing/2014/main" id="{DEC8535A-5BEB-4CE4-B108-5AB0F4FDCEF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98" name="TextBox 97">
                    <a:extLst>
                      <a:ext uri="{FF2B5EF4-FFF2-40B4-BE49-F238E27FC236}">
                        <a16:creationId xmlns:a16="http://schemas.microsoft.com/office/drawing/2014/main" id="{DEC8535A-5BEB-4CE4-B108-5AB0F4FDCEF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6"/>
                    <a:stretch>
                      <a:fillRect l="-71429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88242D6C-E622-4D61-AD19-24339A030631}"/>
                </a:ext>
              </a:extLst>
            </p:cNvPr>
            <p:cNvCxnSpPr>
              <a:cxnSpLocks/>
              <a:stCxn id="69" idx="4"/>
              <a:endCxn id="97" idx="0"/>
            </p:cNvCxnSpPr>
            <p:nvPr/>
          </p:nvCxnSpPr>
          <p:spPr>
            <a:xfrm>
              <a:off x="9786401" y="3196093"/>
              <a:ext cx="9068" cy="382301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49F38CA-373D-44C4-8C68-702E944991E6}"/>
                </a:ext>
              </a:extLst>
            </p:cNvPr>
            <p:cNvGrpSpPr/>
            <p:nvPr/>
          </p:nvGrpSpPr>
          <p:grpSpPr>
            <a:xfrm>
              <a:off x="10054248" y="3531619"/>
              <a:ext cx="402748" cy="461665"/>
              <a:chOff x="10198677" y="2091262"/>
              <a:chExt cx="497260" cy="570004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4CE20797-7BD5-4795-9588-EF14C97E1672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2" name="TextBox 101">
                    <a:extLst>
                      <a:ext uri="{FF2B5EF4-FFF2-40B4-BE49-F238E27FC236}">
                        <a16:creationId xmlns:a16="http://schemas.microsoft.com/office/drawing/2014/main" id="{3BC11E66-5886-4885-B81E-981FAE2C1705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2" name="TextBox 101">
                    <a:extLst>
                      <a:ext uri="{FF2B5EF4-FFF2-40B4-BE49-F238E27FC236}">
                        <a16:creationId xmlns:a16="http://schemas.microsoft.com/office/drawing/2014/main" id="{3BC11E66-5886-4885-B81E-981FAE2C170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7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AFC9CDF3-2269-480A-A095-E8319D3A462C}"/>
                </a:ext>
              </a:extLst>
            </p:cNvPr>
            <p:cNvCxnSpPr>
              <a:cxnSpLocks/>
              <a:stCxn id="69" idx="4"/>
              <a:endCxn id="101" idx="0"/>
            </p:cNvCxnSpPr>
            <p:nvPr/>
          </p:nvCxnSpPr>
          <p:spPr>
            <a:xfrm>
              <a:off x="9786401" y="3196093"/>
              <a:ext cx="469221" cy="382300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76569D03-5AC2-4CC2-87CF-5B020A386C7D}"/>
                </a:ext>
              </a:extLst>
            </p:cNvPr>
            <p:cNvGrpSpPr/>
            <p:nvPr/>
          </p:nvGrpSpPr>
          <p:grpSpPr>
            <a:xfrm>
              <a:off x="10695937" y="3531620"/>
              <a:ext cx="402748" cy="461665"/>
              <a:chOff x="10198677" y="2091262"/>
              <a:chExt cx="497260" cy="570004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758CED-C41C-410A-AB81-C5FF38F474B2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024E08AC-B9B9-4117-AA38-606EFC31D804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024E08AC-B9B9-4117-AA38-606EFC31D80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8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40AB7F4-C42E-4FC0-AA60-006915D94F15}"/>
                </a:ext>
              </a:extLst>
            </p:cNvPr>
            <p:cNvGrpSpPr/>
            <p:nvPr/>
          </p:nvGrpSpPr>
          <p:grpSpPr>
            <a:xfrm>
              <a:off x="11213186" y="3531619"/>
              <a:ext cx="402748" cy="461665"/>
              <a:chOff x="10198677" y="2091262"/>
              <a:chExt cx="497260" cy="570004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60BCF63-FE42-4EC2-AC1E-17ED28E62A0C}"/>
                  </a:ext>
                </a:extLst>
              </p:cNvPr>
              <p:cNvSpPr/>
              <p:nvPr/>
            </p:nvSpPr>
            <p:spPr>
              <a:xfrm>
                <a:off x="10198677" y="2149013"/>
                <a:ext cx="497260" cy="49726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  <a:alpha val="10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4E6682E8-3DD1-4C04-B999-DCAB540FD5C8}"/>
                      </a:ext>
                    </a:extLst>
                  </p:cNvPr>
                  <p:cNvSpPr txBox="1"/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400" b="0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sub>
                          </m:sSub>
                        </m:oMath>
                      </m:oMathPara>
                    </a14:m>
                    <a:endParaRPr lang="en-NL" sz="24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4E6682E8-3DD1-4C04-B999-DCAB540FD5C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01285" y="2091262"/>
                    <a:ext cx="104652" cy="570004"/>
                  </a:xfrm>
                  <a:prstGeom prst="rect">
                    <a:avLst/>
                  </a:prstGeom>
                  <a:blipFill>
                    <a:blip r:embed="rId19"/>
                    <a:stretch>
                      <a:fillRect l="-78571" r="-378571" b="-131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4D31DF8-FA1B-434B-AFD4-03E57037FB59}"/>
                </a:ext>
              </a:extLst>
            </p:cNvPr>
            <p:cNvCxnSpPr>
              <a:cxnSpLocks/>
              <a:stCxn id="75" idx="4"/>
              <a:endCxn id="105" idx="0"/>
            </p:cNvCxnSpPr>
            <p:nvPr/>
          </p:nvCxnSpPr>
          <p:spPr>
            <a:xfrm flipH="1">
              <a:off x="10897311" y="3186547"/>
              <a:ext cx="248251" cy="391847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A8DA859-A0DF-467B-B954-CAB67B67A2D0}"/>
                </a:ext>
              </a:extLst>
            </p:cNvPr>
            <p:cNvCxnSpPr>
              <a:cxnSpLocks/>
              <a:stCxn id="75" idx="4"/>
              <a:endCxn id="108" idx="0"/>
            </p:cNvCxnSpPr>
            <p:nvPr/>
          </p:nvCxnSpPr>
          <p:spPr>
            <a:xfrm>
              <a:off x="11145562" y="3186547"/>
              <a:ext cx="268998" cy="39184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060914C8-D26D-4DF7-AA9A-060D231EB2FE}"/>
              </a:ext>
            </a:extLst>
          </p:cNvPr>
          <p:cNvGrpSpPr/>
          <p:nvPr/>
        </p:nvGrpSpPr>
        <p:grpSpPr>
          <a:xfrm>
            <a:off x="9118275" y="3981140"/>
            <a:ext cx="2470869" cy="395332"/>
            <a:chOff x="9118275" y="3981140"/>
            <a:chExt cx="2470869" cy="39533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F6550575-DA2F-484C-A367-903CC2C0E73B}"/>
                </a:ext>
              </a:extLst>
            </p:cNvPr>
            <p:cNvSpPr/>
            <p:nvPr/>
          </p:nvSpPr>
          <p:spPr>
            <a:xfrm>
              <a:off x="911827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1F475AD0-AC4E-49C8-86C0-71DDA0D6F0A6}"/>
                </a:ext>
              </a:extLst>
            </p:cNvPr>
            <p:cNvSpPr/>
            <p:nvPr/>
          </p:nvSpPr>
          <p:spPr>
            <a:xfrm>
              <a:off x="927509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95322EB7-6AC1-40CA-9132-B79A8BCC1249}"/>
                </a:ext>
              </a:extLst>
            </p:cNvPr>
            <p:cNvSpPr/>
            <p:nvPr/>
          </p:nvSpPr>
          <p:spPr>
            <a:xfrm>
              <a:off x="943191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84CF9B5-3E8C-4F38-8896-1866E51AEFB3}"/>
                </a:ext>
              </a:extLst>
            </p:cNvPr>
            <p:cNvCxnSpPr>
              <a:cxnSpLocks/>
              <a:stCxn id="92" idx="4"/>
              <a:endCxn id="114" idx="0"/>
            </p:cNvCxnSpPr>
            <p:nvPr/>
          </p:nvCxnSpPr>
          <p:spPr>
            <a:xfrm flipH="1">
              <a:off x="9170601" y="3981141"/>
              <a:ext cx="166827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FACF68F9-00A0-4CEA-A951-E08C792685C4}"/>
                </a:ext>
              </a:extLst>
            </p:cNvPr>
            <p:cNvCxnSpPr>
              <a:cxnSpLocks/>
              <a:stCxn id="92" idx="4"/>
              <a:endCxn id="115" idx="0"/>
            </p:cNvCxnSpPr>
            <p:nvPr/>
          </p:nvCxnSpPr>
          <p:spPr>
            <a:xfrm flipH="1">
              <a:off x="9327419" y="3981141"/>
              <a:ext cx="10009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42A58FEA-1743-40D1-9AA2-8FD70BA5A9FF}"/>
                </a:ext>
              </a:extLst>
            </p:cNvPr>
            <p:cNvCxnSpPr>
              <a:cxnSpLocks/>
              <a:stCxn id="92" idx="4"/>
              <a:endCxn id="116" idx="0"/>
            </p:cNvCxnSpPr>
            <p:nvPr/>
          </p:nvCxnSpPr>
          <p:spPr>
            <a:xfrm>
              <a:off x="9337428" y="3981141"/>
              <a:ext cx="146809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428E4CBE-9932-4BE9-943E-F855C9C02D91}"/>
                </a:ext>
              </a:extLst>
            </p:cNvPr>
            <p:cNvSpPr/>
            <p:nvPr/>
          </p:nvSpPr>
          <p:spPr>
            <a:xfrm>
              <a:off x="957855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E522B781-8D89-4B6C-B8A2-85EAED4570F6}"/>
                </a:ext>
              </a:extLst>
            </p:cNvPr>
            <p:cNvSpPr/>
            <p:nvPr/>
          </p:nvSpPr>
          <p:spPr>
            <a:xfrm>
              <a:off x="973537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F2A61484-791F-48CD-98F8-E34518537EE1}"/>
                </a:ext>
              </a:extLst>
            </p:cNvPr>
            <p:cNvSpPr/>
            <p:nvPr/>
          </p:nvSpPr>
          <p:spPr>
            <a:xfrm>
              <a:off x="989219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228F4A3A-80E9-4392-B86D-B18BD9EF8A0B}"/>
                </a:ext>
              </a:extLst>
            </p:cNvPr>
            <p:cNvCxnSpPr>
              <a:cxnSpLocks/>
              <a:stCxn id="97" idx="4"/>
              <a:endCxn id="133" idx="0"/>
            </p:cNvCxnSpPr>
            <p:nvPr/>
          </p:nvCxnSpPr>
          <p:spPr>
            <a:xfrm flipH="1">
              <a:off x="9630881" y="3981141"/>
              <a:ext cx="164588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0B49B7D9-A473-4981-84DF-8FDE58533D30}"/>
                </a:ext>
              </a:extLst>
            </p:cNvPr>
            <p:cNvCxnSpPr>
              <a:cxnSpLocks/>
              <a:stCxn id="97" idx="4"/>
              <a:endCxn id="134" idx="0"/>
            </p:cNvCxnSpPr>
            <p:nvPr/>
          </p:nvCxnSpPr>
          <p:spPr>
            <a:xfrm flipH="1">
              <a:off x="9787699" y="3981141"/>
              <a:ext cx="7770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E5350DF-2499-45E3-837C-EBDC2AC3A792}"/>
                </a:ext>
              </a:extLst>
            </p:cNvPr>
            <p:cNvCxnSpPr>
              <a:cxnSpLocks/>
              <a:stCxn id="97" idx="4"/>
              <a:endCxn id="135" idx="0"/>
            </p:cNvCxnSpPr>
            <p:nvPr/>
          </p:nvCxnSpPr>
          <p:spPr>
            <a:xfrm>
              <a:off x="9795469" y="3981141"/>
              <a:ext cx="149048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91DDB8D2-B646-46A1-A919-FE60E8022AE8}"/>
                </a:ext>
              </a:extLst>
            </p:cNvPr>
            <p:cNvSpPr/>
            <p:nvPr/>
          </p:nvSpPr>
          <p:spPr>
            <a:xfrm>
              <a:off x="10027835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78E0C22-68DC-473A-8916-2794AEBBB2B3}"/>
                </a:ext>
              </a:extLst>
            </p:cNvPr>
            <p:cNvSpPr/>
            <p:nvPr/>
          </p:nvSpPr>
          <p:spPr>
            <a:xfrm>
              <a:off x="10184653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545D350A-1B3F-42C5-93CF-815E20833522}"/>
                </a:ext>
              </a:extLst>
            </p:cNvPr>
            <p:cNvSpPr/>
            <p:nvPr/>
          </p:nvSpPr>
          <p:spPr>
            <a:xfrm>
              <a:off x="103414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91E21EC4-ADDD-4863-92C8-0FEA583FA254}"/>
                </a:ext>
              </a:extLst>
            </p:cNvPr>
            <p:cNvCxnSpPr>
              <a:cxnSpLocks/>
              <a:stCxn id="101" idx="4"/>
              <a:endCxn id="144" idx="0"/>
            </p:cNvCxnSpPr>
            <p:nvPr/>
          </p:nvCxnSpPr>
          <p:spPr>
            <a:xfrm flipH="1">
              <a:off x="10080161" y="3981140"/>
              <a:ext cx="175461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9A98B7A6-5DC8-46B9-A90B-CDC7E8B4073D}"/>
                </a:ext>
              </a:extLst>
            </p:cNvPr>
            <p:cNvCxnSpPr>
              <a:cxnSpLocks/>
              <a:stCxn id="101" idx="4"/>
              <a:endCxn id="145" idx="0"/>
            </p:cNvCxnSpPr>
            <p:nvPr/>
          </p:nvCxnSpPr>
          <p:spPr>
            <a:xfrm flipH="1">
              <a:off x="10236979" y="3981140"/>
              <a:ext cx="18643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710518E7-1BE8-46FB-B3C9-88373C783E94}"/>
                </a:ext>
              </a:extLst>
            </p:cNvPr>
            <p:cNvCxnSpPr>
              <a:cxnSpLocks/>
              <a:stCxn id="101" idx="4"/>
              <a:endCxn id="146" idx="0"/>
            </p:cNvCxnSpPr>
            <p:nvPr/>
          </p:nvCxnSpPr>
          <p:spPr>
            <a:xfrm>
              <a:off x="10255622" y="3981140"/>
              <a:ext cx="138175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D797071B-1FFE-4333-B6DC-1F43EC1BAB02}"/>
                </a:ext>
              </a:extLst>
            </p:cNvPr>
            <p:cNvSpPr/>
            <p:nvPr/>
          </p:nvSpPr>
          <p:spPr>
            <a:xfrm>
              <a:off x="104938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34CF339E-BFBE-4B53-9018-72F8ACEEE530}"/>
                </a:ext>
              </a:extLst>
            </p:cNvPr>
            <p:cNvCxnSpPr>
              <a:cxnSpLocks/>
              <a:stCxn id="101" idx="4"/>
              <a:endCxn id="150" idx="0"/>
            </p:cNvCxnSpPr>
            <p:nvPr/>
          </p:nvCxnSpPr>
          <p:spPr>
            <a:xfrm>
              <a:off x="10255622" y="3981140"/>
              <a:ext cx="290575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48961F4-D461-425D-97A7-EF7AF9F7ED63}"/>
                </a:ext>
              </a:extLst>
            </p:cNvPr>
            <p:cNvSpPr/>
            <p:nvPr/>
          </p:nvSpPr>
          <p:spPr>
            <a:xfrm>
              <a:off x="10841934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D12B2F91-6C40-4171-993C-D24B801E9E8B}"/>
                </a:ext>
              </a:extLst>
            </p:cNvPr>
            <p:cNvSpPr/>
            <p:nvPr/>
          </p:nvSpPr>
          <p:spPr>
            <a:xfrm>
              <a:off x="11290071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0D0744F6-D6F9-495F-A067-BEBD6599FD56}"/>
                </a:ext>
              </a:extLst>
            </p:cNvPr>
            <p:cNvSpPr/>
            <p:nvPr/>
          </p:nvSpPr>
          <p:spPr>
            <a:xfrm>
              <a:off x="11484492" y="4271820"/>
              <a:ext cx="104652" cy="10465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8B92A2CA-1279-4DC7-A7A5-880D22C147E1}"/>
                </a:ext>
              </a:extLst>
            </p:cNvPr>
            <p:cNvCxnSpPr>
              <a:cxnSpLocks/>
              <a:stCxn id="105" idx="4"/>
              <a:endCxn id="158" idx="0"/>
            </p:cNvCxnSpPr>
            <p:nvPr/>
          </p:nvCxnSpPr>
          <p:spPr>
            <a:xfrm flipH="1">
              <a:off x="10894260" y="3981141"/>
              <a:ext cx="3051" cy="290679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AAD8E01A-410D-4FCC-AFDA-E87A56D8520E}"/>
                </a:ext>
              </a:extLst>
            </p:cNvPr>
            <p:cNvCxnSpPr>
              <a:cxnSpLocks/>
              <a:stCxn id="108" idx="4"/>
              <a:endCxn id="159" idx="0"/>
            </p:cNvCxnSpPr>
            <p:nvPr/>
          </p:nvCxnSpPr>
          <p:spPr>
            <a:xfrm flipH="1">
              <a:off x="11342397" y="3981140"/>
              <a:ext cx="72163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6B13BCF4-2E92-4BCD-B5C0-7C81D8473D5D}"/>
                </a:ext>
              </a:extLst>
            </p:cNvPr>
            <p:cNvCxnSpPr>
              <a:cxnSpLocks/>
              <a:stCxn id="108" idx="4"/>
              <a:endCxn id="160" idx="0"/>
            </p:cNvCxnSpPr>
            <p:nvPr/>
          </p:nvCxnSpPr>
          <p:spPr>
            <a:xfrm>
              <a:off x="11414560" y="3981140"/>
              <a:ext cx="122258" cy="290680"/>
            </a:xfrm>
            <a:prstGeom prst="line">
              <a:avLst/>
            </a:prstGeom>
            <a:ln w="63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5B0A9437-C3EC-49A9-8408-C96F28C97B10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CC6D83B-D900-4B8D-A0E4-65A35247EF8D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221FB49D-DE5C-4AF5-B058-308F1EBF13A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65" name="Oval 138">
              <a:extLst>
                <a:ext uri="{FF2B5EF4-FFF2-40B4-BE49-F238E27FC236}">
                  <a16:creationId xmlns:a16="http://schemas.microsoft.com/office/drawing/2014/main" id="{6BC57381-B19B-474D-8947-2CC3B35FC2F5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66" name="TextBox 139">
              <a:extLst>
                <a:ext uri="{FF2B5EF4-FFF2-40B4-BE49-F238E27FC236}">
                  <a16:creationId xmlns:a16="http://schemas.microsoft.com/office/drawing/2014/main" id="{F2CAA852-F62B-4DBC-B800-BDC6D302946E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67" name="TextBox 34">
              <a:extLst>
                <a:ext uri="{FF2B5EF4-FFF2-40B4-BE49-F238E27FC236}">
                  <a16:creationId xmlns:a16="http://schemas.microsoft.com/office/drawing/2014/main" id="{AACDB513-934E-46D9-8AA9-EC177EA39895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8" name="Oval 138">
              <a:extLst>
                <a:ext uri="{FF2B5EF4-FFF2-40B4-BE49-F238E27FC236}">
                  <a16:creationId xmlns:a16="http://schemas.microsoft.com/office/drawing/2014/main" id="{3F83AA76-9C48-434D-982C-D993CA8D3624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69" name="TextBox 139">
              <a:extLst>
                <a:ext uri="{FF2B5EF4-FFF2-40B4-BE49-F238E27FC236}">
                  <a16:creationId xmlns:a16="http://schemas.microsoft.com/office/drawing/2014/main" id="{20FDE71F-3C8F-4A63-BFE1-93819D3168D5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70" name="TextBox 34">
              <a:extLst>
                <a:ext uri="{FF2B5EF4-FFF2-40B4-BE49-F238E27FC236}">
                  <a16:creationId xmlns:a16="http://schemas.microsoft.com/office/drawing/2014/main" id="{C653FD7B-0FC7-48BB-A92E-69246B015A98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4" name="Oval 138">
              <a:extLst>
                <a:ext uri="{FF2B5EF4-FFF2-40B4-BE49-F238E27FC236}">
                  <a16:creationId xmlns:a16="http://schemas.microsoft.com/office/drawing/2014/main" id="{4B9BC5C4-A73B-4F5C-9EC3-C53F72489262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75" name="TextBox 139">
              <a:extLst>
                <a:ext uri="{FF2B5EF4-FFF2-40B4-BE49-F238E27FC236}">
                  <a16:creationId xmlns:a16="http://schemas.microsoft.com/office/drawing/2014/main" id="{2612EADE-5AE6-4813-A01D-95E0A81769BD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76" name="TextBox 34">
              <a:extLst>
                <a:ext uri="{FF2B5EF4-FFF2-40B4-BE49-F238E27FC236}">
                  <a16:creationId xmlns:a16="http://schemas.microsoft.com/office/drawing/2014/main" id="{319843C8-4803-4771-97B8-15ED026068FC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7" name="Diamond 176">
            <a:extLst>
              <a:ext uri="{FF2B5EF4-FFF2-40B4-BE49-F238E27FC236}">
                <a16:creationId xmlns:a16="http://schemas.microsoft.com/office/drawing/2014/main" id="{9F1E6A1C-C55E-40F6-936A-8E6FD450974C}"/>
              </a:ext>
            </a:extLst>
          </p:cNvPr>
          <p:cNvSpPr/>
          <p:nvPr/>
        </p:nvSpPr>
        <p:spPr>
          <a:xfrm>
            <a:off x="348800" y="3558994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974B51-A497-4935-A76C-F750838A67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696819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B725F88-FCC6-4E87-A286-E00D228BBD50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011790A-F321-416F-9893-268DC189AB04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011790A-F321-416F-9893-268DC189AB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3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8" name="Group 67">
            <a:extLst>
              <a:ext uri="{FF2B5EF4-FFF2-40B4-BE49-F238E27FC236}">
                <a16:creationId xmlns:a16="http://schemas.microsoft.com/office/drawing/2014/main" id="{5614F85E-53E7-44D7-9373-62658DA6C2C8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10198677" y="2144058"/>
            <a:chExt cx="497260" cy="502215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416B580-1166-4E9A-BD57-2A5BCB5F9AD4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BFDA35F-9065-44B1-B837-59764CD29ED9}"/>
                    </a:ext>
                  </a:extLst>
                </p:cNvPr>
                <p:cNvSpPr txBox="1"/>
                <p:nvPr/>
              </p:nvSpPr>
              <p:spPr>
                <a:xfrm>
                  <a:off x="10271499" y="2144058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BFDA35F-9065-44B1-B837-59764CD29ED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71499" y="2144058"/>
                  <a:ext cx="104652" cy="461665"/>
                </a:xfrm>
                <a:prstGeom prst="rect">
                  <a:avLst/>
                </a:prstGeom>
                <a:blipFill>
                  <a:blip r:embed="rId4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F519485-090B-4D37-9397-5FB3F39AB87B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10198677" y="2144058"/>
            <a:chExt cx="497260" cy="502215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94A0CCB2-3E6F-45D7-B7F1-46AEE5FF5EDB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F3D33D54-E48F-42E9-B299-818B5FC61ADB}"/>
                    </a:ext>
                  </a:extLst>
                </p:cNvPr>
                <p:cNvSpPr txBox="1"/>
                <p:nvPr/>
              </p:nvSpPr>
              <p:spPr>
                <a:xfrm>
                  <a:off x="10259509" y="2144058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F3D33D54-E48F-42E9-B299-818B5FC61A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59509" y="2144058"/>
                  <a:ext cx="77305" cy="461665"/>
                </a:xfrm>
                <a:prstGeom prst="rect">
                  <a:avLst/>
                </a:prstGeom>
                <a:blipFill>
                  <a:blip r:embed="rId5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F635E7-B79C-4D5E-9247-082A4C59EA23}"/>
              </a:ext>
            </a:extLst>
          </p:cNvPr>
          <p:cNvCxnSpPr>
            <a:cxnSpLocks/>
            <a:stCxn id="11" idx="4"/>
            <a:endCxn id="69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8730E1B-D393-4A98-84AC-7843F5DDA286}"/>
              </a:ext>
            </a:extLst>
          </p:cNvPr>
          <p:cNvCxnSpPr>
            <a:cxnSpLocks/>
            <a:stCxn id="11" idx="4"/>
            <a:endCxn id="75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356B7-C4CA-462E-80C3-3282D93DA06D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10198677" y="2091262"/>
            <a:chExt cx="497260" cy="570004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4B48A3F2-66EC-46F3-A63C-78128A9CA214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D306E86F-CB33-4DEE-B714-6364900FB22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D306E86F-CB33-4DEE-B714-6364900FB22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CEECF89-49E4-44BA-827B-1D180C3A9961}"/>
              </a:ext>
            </a:extLst>
          </p:cNvPr>
          <p:cNvCxnSpPr>
            <a:cxnSpLocks/>
            <a:stCxn id="69" idx="4"/>
            <a:endCxn id="92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ABFF921-F283-4B06-A57B-7BDE38CC4004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10198677" y="2091262"/>
            <a:chExt cx="497260" cy="570004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76DB6BC1-A092-401D-B83D-76DDB3975099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EC8535A-5BEB-4CE4-B108-5AB0F4FDCEF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EC8535A-5BEB-4CE4-B108-5AB0F4FDCEF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7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8242D6C-E622-4D61-AD19-24339A030631}"/>
              </a:ext>
            </a:extLst>
          </p:cNvPr>
          <p:cNvCxnSpPr>
            <a:cxnSpLocks/>
            <a:stCxn id="69" idx="4"/>
            <a:endCxn id="97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49F38CA-373D-44C4-8C68-702E944991E6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10198677" y="2091262"/>
            <a:chExt cx="497260" cy="570004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CE20797-7BD5-4795-9588-EF14C97E1672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3BC11E66-5886-4885-B81E-981FAE2C1705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3BC11E66-5886-4885-B81E-981FAE2C17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8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FC9CDF3-2269-480A-A095-E8319D3A462C}"/>
              </a:ext>
            </a:extLst>
          </p:cNvPr>
          <p:cNvCxnSpPr>
            <a:cxnSpLocks/>
            <a:stCxn id="69" idx="4"/>
            <a:endCxn id="101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76569D03-5AC2-4CC2-87CF-5B020A386C7D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10198677" y="2091262"/>
            <a:chExt cx="497260" cy="570004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1A758CED-C41C-410A-AB81-C5FF38F474B2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024E08AC-B9B9-4117-AA38-606EFC31D804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024E08AC-B9B9-4117-AA38-606EFC31D80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40AB7F4-C42E-4FC0-AA60-006915D94F15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10198677" y="2091262"/>
            <a:chExt cx="497260" cy="57000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B60BCF63-FE42-4EC2-AC1E-17ED28E62A0C}"/>
                </a:ext>
              </a:extLst>
            </p:cNvPr>
            <p:cNvSpPr/>
            <p:nvPr/>
          </p:nvSpPr>
          <p:spPr>
            <a:xfrm>
              <a:off x="10198677" y="2149013"/>
              <a:ext cx="497260" cy="497260"/>
            </a:xfrm>
            <a:prstGeom prst="ellipse">
              <a:avLst/>
            </a:prstGeom>
            <a:solidFill>
              <a:schemeClr val="tx1">
                <a:lumMod val="75000"/>
                <a:lumOff val="25000"/>
                <a:alpha val="1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4E6682E8-3DD1-4C04-B999-DCAB540FD5C8}"/>
                    </a:ext>
                  </a:extLst>
                </p:cNvPr>
                <p:cNvSpPr txBox="1"/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9" name="TextBox 108">
                  <a:extLst>
                    <a:ext uri="{FF2B5EF4-FFF2-40B4-BE49-F238E27FC236}">
                      <a16:creationId xmlns:a16="http://schemas.microsoft.com/office/drawing/2014/main" id="{4E6682E8-3DD1-4C04-B999-DCAB540FD5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01285" y="2091262"/>
                  <a:ext cx="104652" cy="570004"/>
                </a:xfrm>
                <a:prstGeom prst="rect">
                  <a:avLst/>
                </a:prstGeom>
                <a:blipFill>
                  <a:blip r:embed="rId10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4D31DF8-FA1B-434B-AFD4-03E57037FB59}"/>
              </a:ext>
            </a:extLst>
          </p:cNvPr>
          <p:cNvCxnSpPr>
            <a:cxnSpLocks/>
            <a:stCxn id="75" idx="4"/>
            <a:endCxn id="105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A8DA859-A0DF-467B-B954-CAB67B67A2D0}"/>
              </a:ext>
            </a:extLst>
          </p:cNvPr>
          <p:cNvCxnSpPr>
            <a:cxnSpLocks/>
            <a:stCxn id="75" idx="4"/>
            <a:endCxn id="108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 113">
            <a:extLst>
              <a:ext uri="{FF2B5EF4-FFF2-40B4-BE49-F238E27FC236}">
                <a16:creationId xmlns:a16="http://schemas.microsoft.com/office/drawing/2014/main" id="{F6550575-DA2F-484C-A367-903CC2C0E73B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1F475AD0-AC4E-49C8-86C0-71DDA0D6F0A6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95322EB7-6AC1-40CA-9132-B79A8BCC1249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84CF9B5-3E8C-4F38-8896-1866E51AEFB3}"/>
              </a:ext>
            </a:extLst>
          </p:cNvPr>
          <p:cNvCxnSpPr>
            <a:cxnSpLocks/>
            <a:stCxn id="92" idx="4"/>
            <a:endCxn id="114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FACF68F9-00A0-4CEA-A951-E08C792685C4}"/>
              </a:ext>
            </a:extLst>
          </p:cNvPr>
          <p:cNvCxnSpPr>
            <a:cxnSpLocks/>
            <a:stCxn id="92" idx="4"/>
            <a:endCxn id="115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2A58FEA-1743-40D1-9AA2-8FD70BA5A9FF}"/>
              </a:ext>
            </a:extLst>
          </p:cNvPr>
          <p:cNvCxnSpPr>
            <a:cxnSpLocks/>
            <a:stCxn id="92" idx="4"/>
            <a:endCxn id="116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>
            <a:extLst>
              <a:ext uri="{FF2B5EF4-FFF2-40B4-BE49-F238E27FC236}">
                <a16:creationId xmlns:a16="http://schemas.microsoft.com/office/drawing/2014/main" id="{428E4CBE-9932-4BE9-943E-F855C9C02D91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E522B781-8D89-4B6C-B8A2-85EAED4570F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2A61484-791F-48CD-98F8-E34518537EE1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228F4A3A-80E9-4392-B86D-B18BD9EF8A0B}"/>
              </a:ext>
            </a:extLst>
          </p:cNvPr>
          <p:cNvCxnSpPr>
            <a:cxnSpLocks/>
            <a:stCxn id="97" idx="4"/>
            <a:endCxn id="133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B49B7D9-A473-4981-84DF-8FDE58533D30}"/>
              </a:ext>
            </a:extLst>
          </p:cNvPr>
          <p:cNvCxnSpPr>
            <a:cxnSpLocks/>
            <a:stCxn id="97" idx="4"/>
            <a:endCxn id="134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6E5350DF-2499-45E3-837C-EBDC2AC3A792}"/>
              </a:ext>
            </a:extLst>
          </p:cNvPr>
          <p:cNvCxnSpPr>
            <a:cxnSpLocks/>
            <a:stCxn id="97" idx="4"/>
            <a:endCxn id="135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Oval 143">
            <a:extLst>
              <a:ext uri="{FF2B5EF4-FFF2-40B4-BE49-F238E27FC236}">
                <a16:creationId xmlns:a16="http://schemas.microsoft.com/office/drawing/2014/main" id="{91DDB8D2-B646-46A1-A919-FE60E8022AE8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D78E0C22-68DC-473A-8916-2794AEBBB2B3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545D350A-1B3F-42C5-93CF-815E20833522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91E21EC4-ADDD-4863-92C8-0FEA583FA254}"/>
              </a:ext>
            </a:extLst>
          </p:cNvPr>
          <p:cNvCxnSpPr>
            <a:cxnSpLocks/>
            <a:stCxn id="101" idx="4"/>
            <a:endCxn id="144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9A98B7A6-5DC8-46B9-A90B-CDC7E8B4073D}"/>
              </a:ext>
            </a:extLst>
          </p:cNvPr>
          <p:cNvCxnSpPr>
            <a:cxnSpLocks/>
            <a:stCxn id="101" idx="4"/>
            <a:endCxn id="145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710518E7-1BE8-46FB-B3C9-88373C783E94}"/>
              </a:ext>
            </a:extLst>
          </p:cNvPr>
          <p:cNvCxnSpPr>
            <a:cxnSpLocks/>
            <a:stCxn id="101" idx="4"/>
            <a:endCxn id="146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D797071B-1FFE-4333-B6DC-1F43EC1BAB02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4CF339E-BFBE-4B53-9018-72F8ACEEE530}"/>
              </a:ext>
            </a:extLst>
          </p:cNvPr>
          <p:cNvCxnSpPr>
            <a:cxnSpLocks/>
            <a:stCxn id="101" idx="4"/>
            <a:endCxn id="150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848961F4-D461-425D-97A7-EF7AF9F7ED63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D12B2F91-6C40-4171-993C-D24B801E9E8B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D0744F6-D6F9-495F-A067-BEBD6599FD56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8B92A2CA-1279-4DC7-A7A5-880D22C147E1}"/>
              </a:ext>
            </a:extLst>
          </p:cNvPr>
          <p:cNvCxnSpPr>
            <a:cxnSpLocks/>
            <a:stCxn id="105" idx="4"/>
            <a:endCxn id="158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AAD8E01A-410D-4FCC-AFDA-E87A56D8520E}"/>
              </a:ext>
            </a:extLst>
          </p:cNvPr>
          <p:cNvCxnSpPr>
            <a:cxnSpLocks/>
            <a:stCxn id="108" idx="4"/>
            <a:endCxn id="159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B13BCF4-2E92-4BCD-B5C0-7C81D8473D5D}"/>
              </a:ext>
            </a:extLst>
          </p:cNvPr>
          <p:cNvCxnSpPr>
            <a:cxnSpLocks/>
            <a:stCxn id="108" idx="4"/>
            <a:endCxn id="160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6A27168-61A8-4F16-901B-78B38361EA8D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464A6EF-4DCD-42E1-9961-47E18FEBC6C0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3792A82-5A2C-4622-AA5C-74D6A814EC28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12" name="Oval 138">
              <a:extLst>
                <a:ext uri="{FF2B5EF4-FFF2-40B4-BE49-F238E27FC236}">
                  <a16:creationId xmlns:a16="http://schemas.microsoft.com/office/drawing/2014/main" id="{0606E51E-5818-4464-99A2-17234A5F8BEB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3" name="TextBox 139">
              <a:extLst>
                <a:ext uri="{FF2B5EF4-FFF2-40B4-BE49-F238E27FC236}">
                  <a16:creationId xmlns:a16="http://schemas.microsoft.com/office/drawing/2014/main" id="{59843CA4-830B-453E-963C-36228613E377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18" name="TextBox 34">
              <a:extLst>
                <a:ext uri="{FF2B5EF4-FFF2-40B4-BE49-F238E27FC236}">
                  <a16:creationId xmlns:a16="http://schemas.microsoft.com/office/drawing/2014/main" id="{8BFA8DC3-415A-4A10-8724-BE9A0536EF60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9" name="Oval 138">
              <a:extLst>
                <a:ext uri="{FF2B5EF4-FFF2-40B4-BE49-F238E27FC236}">
                  <a16:creationId xmlns:a16="http://schemas.microsoft.com/office/drawing/2014/main" id="{05AE1AEA-CF86-416A-B955-F73E96E4E600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20" name="TextBox 139">
              <a:extLst>
                <a:ext uri="{FF2B5EF4-FFF2-40B4-BE49-F238E27FC236}">
                  <a16:creationId xmlns:a16="http://schemas.microsoft.com/office/drawing/2014/main" id="{DA2A51A5-5A24-490F-99CE-0BE8938AAF3A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21" name="TextBox 34">
              <a:extLst>
                <a:ext uri="{FF2B5EF4-FFF2-40B4-BE49-F238E27FC236}">
                  <a16:creationId xmlns:a16="http://schemas.microsoft.com/office/drawing/2014/main" id="{132C0697-8B96-4079-A78F-03937B4F669B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Oval 138">
              <a:extLst>
                <a:ext uri="{FF2B5EF4-FFF2-40B4-BE49-F238E27FC236}">
                  <a16:creationId xmlns:a16="http://schemas.microsoft.com/office/drawing/2014/main" id="{9A0B8A2B-14B0-491D-8152-B380D6EB1444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24" name="TextBox 139">
              <a:extLst>
                <a:ext uri="{FF2B5EF4-FFF2-40B4-BE49-F238E27FC236}">
                  <a16:creationId xmlns:a16="http://schemas.microsoft.com/office/drawing/2014/main" id="{B87057D9-A28A-4E4F-96E2-DD1B4A6C6C11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27" name="TextBox 34">
              <a:extLst>
                <a:ext uri="{FF2B5EF4-FFF2-40B4-BE49-F238E27FC236}">
                  <a16:creationId xmlns:a16="http://schemas.microsoft.com/office/drawing/2014/main" id="{690D35C0-9EFC-4FAB-9EC3-4BD18FF0560E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28" name="Diamond 127">
            <a:extLst>
              <a:ext uri="{FF2B5EF4-FFF2-40B4-BE49-F238E27FC236}">
                <a16:creationId xmlns:a16="http://schemas.microsoft.com/office/drawing/2014/main" id="{62F2E537-202A-4B6B-96D5-BDF1F47BC72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643E1D-618B-4C79-9C3D-69E59FA79F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1538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Box 34">
                <a:extLst>
                  <a:ext uri="{FF2B5EF4-FFF2-40B4-BE49-F238E27FC236}">
                    <a16:creationId xmlns:a16="http://schemas.microsoft.com/office/drawing/2014/main" id="{A25B998C-395E-4134-8039-0DC95ECE0D9C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91" name="TextBox 34">
                <a:extLst>
                  <a:ext uri="{FF2B5EF4-FFF2-40B4-BE49-F238E27FC236}">
                    <a16:creationId xmlns:a16="http://schemas.microsoft.com/office/drawing/2014/main" id="{A25B998C-395E-4134-8039-0DC95ECE0D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4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1202029"/>
            <a:chOff x="9725634" y="4625886"/>
            <a:chExt cx="1904553" cy="12020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5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0" name="TextBox 34">
              <a:extLst>
                <a:ext uri="{FF2B5EF4-FFF2-40B4-BE49-F238E27FC236}">
                  <a16:creationId xmlns:a16="http://schemas.microsoft.com/office/drawing/2014/main" id="{19786BFB-61EC-4667-AE8D-D3DF90AA488F}"/>
                </a:ext>
              </a:extLst>
            </p:cNvPr>
            <p:cNvSpPr txBox="1"/>
            <p:nvPr/>
          </p:nvSpPr>
          <p:spPr>
            <a:xfrm>
              <a:off x="9930926" y="5458583"/>
              <a:ext cx="145330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404040"/>
                  </a:solidFill>
                </a:rPr>
                <a:t>Indecisive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5" name="Oval 184">
            <a:extLst>
              <a:ext uri="{FF2B5EF4-FFF2-40B4-BE49-F238E27FC236}">
                <a16:creationId xmlns:a16="http://schemas.microsoft.com/office/drawing/2014/main" id="{403993F3-E707-4DFE-ABB4-AA2E42C11C2D}"/>
              </a:ext>
            </a:extLst>
          </p:cNvPr>
          <p:cNvSpPr/>
          <p:nvPr/>
        </p:nvSpPr>
        <p:spPr>
          <a:xfrm rot="5400000">
            <a:off x="6783216" y="412301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6645381-8F9E-4D51-B936-63E26E90C97A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89D43913-E932-4692-8C79-C0592BAA5B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93419DA2-9DAE-4817-8928-272BC70B6D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0E6925A8-0EF6-4889-A188-ED0A9AFADF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41691FC3-57FB-455E-93A3-D91D1CF23E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1AE92F9F-C7C9-45BF-8535-EFDEA18753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6C6C3DC2-BA1B-4F41-A1FE-9BB7B4C544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F659737C-BD1C-492F-B6CC-CFE86B2D88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2A5D8D2F-3D60-4BBA-A2B2-572CF2886F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7CE8A63A-C9B5-42C8-A8D1-471BCB28E8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CB3AC25E-A6F4-4A70-866D-AE1D6CCDBF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ADB0FC9B-1AC3-44AC-A1C6-A06C091355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4DEBEFC6-9348-454D-BB36-7764D50A6F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0313A1F7-8919-4962-9A02-EE685502F0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6017455" y="491615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9EDB032-94F9-48ED-B3A0-9AE4D8392479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FF973506-0FEB-45E0-83DF-E5094D4FF0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338BF794-6175-4AC7-B6AE-187533150C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3BD54354-94D2-48C9-848D-ECBA11E1E1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92DDA2D3-D020-45A6-8CF6-7579A186B2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E0608CF5-12F5-4EE1-8BF0-36BAA48D0A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36DB05C2-E986-46D0-8D87-FA32F4D542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5FD63AB4-E181-4584-A0DF-B49AB52E1C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3CE08731-8326-445E-AAA0-6B70FB6DA7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1EB9242F-34B3-4896-B0C7-03082EE32C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4B7E6D2D-3A2E-4D40-9967-760BAB2259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580A1D91-F102-4083-952F-DDB0382189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667770FC-B5B2-414F-A910-D0B26FDCA4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200FD3F6-6D13-4A15-87C0-013D5BD10E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1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7713961-9CAA-4257-A7E1-EAB59B8A9945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C32965B7-D6BB-43DB-AF6C-8042DE527E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6FD46084-76C4-468E-B403-3886A58EC1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5685EA02-D6E6-44B2-9BA3-A2E4A32FEF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B5DE07FB-4B74-44B3-8F32-D8F8401C1A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6CB8A36-669D-4AB7-AAFF-7B3FBA1392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0B60C2A9-2BA5-425B-8101-820C8BA3B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ADD3DFCD-9C6F-4C51-BF36-BA6FA47DD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0CE390C6-94A9-4B1B-B69B-618DB2158E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2CBDB4DB-7498-4C08-9F94-AE09AD3E44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3CF46118-A90A-4EC7-AAC7-E96B72F1BD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57F251B4-A8C8-4625-90BF-74604F2F3E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A8FC3DB8-15E3-4A3B-96A3-A32B4C5580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499CE6F5-CEAA-40C3-AC11-32744D9D46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1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2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B0546D6F-BB5D-4397-949C-339E07FABD7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FF701EB-0C47-4A73-9916-5E2F8E3F6D79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27E1320-A47D-4A0C-BFC3-6155F3EA584F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BD7C8841-D7AE-43DC-902A-8E29E01706BF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9AF78040-D0CF-4275-A6CE-4ED595DBBC49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C91C28B7-9A30-4902-98A9-D652C8E807AC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A5A21DF2-B7AB-4863-B512-D79C8706D653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A99A6063-7FF7-4A5E-94D4-57B113F3072D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187565AE-D2F9-4DCC-9E1F-E63F7D04AD0A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415F7DC4-6AF1-41D7-8E9E-451AE205961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ABE77F8E-8634-4426-9ABD-2D49826E85DC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BEDD3DFE-683C-49D1-8BA2-794353A7DAD5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46AEF00F-FD39-4EC6-852E-BE65F24DEF42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D5321D-BDD1-436E-8DDA-FB2D7DFF9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0297027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4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87" name="TextBox 34">
                <a:extLst>
                  <a:ext uri="{FF2B5EF4-FFF2-40B4-BE49-F238E27FC236}">
                    <a16:creationId xmlns:a16="http://schemas.microsoft.com/office/drawing/2014/main" id="{FC74FF31-841F-4BC7-BAE5-56D432A702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5" name="Oval 184">
            <a:extLst>
              <a:ext uri="{FF2B5EF4-FFF2-40B4-BE49-F238E27FC236}">
                <a16:creationId xmlns:a16="http://schemas.microsoft.com/office/drawing/2014/main" id="{403993F3-E707-4DFE-ABB4-AA2E42C11C2D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6017455" y="491615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1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1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2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9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507320FB-5260-4361-90DB-448262B1ED99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70CBA66-4B8B-4B04-8C32-539890A0BD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E6B5D267-C8F9-400F-B425-625218AEB8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1426DCFD-EF43-4C94-A8FA-4A931D986F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0EB89F26-0E6A-459E-A8FE-CE76BFB58F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B7820712-9746-4BE7-9AAB-1BED1DA995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F02DDC96-082D-4628-B4F3-AD02F402C8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4C44877B-B97F-4185-BC2E-49B26011FB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D35B86EC-A627-489F-8B06-FA1077AE02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BA49A3B2-30FC-4AC7-9167-0D87A30FBA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21038837-EF24-4362-82D4-DD314CE9BD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67077760-0801-476D-8BE1-CEB4C6E0F7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83D7DADA-5B0D-47C7-8896-33C55F9529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96F90E80-F2AE-4359-AE8C-D8698244F3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A1EB31A-B8DF-47CC-9EB2-19AA787F0AA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8BF3297C-4F02-4E06-8BDD-B3909D2AE7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27F92FDA-88F9-4620-ACA3-15DB4EF81D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3FF1FFC6-6391-4109-B76E-0D590E2285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8DC0A615-730C-4E29-8E65-BA3F4A654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2BA74C0A-3B89-4B1A-B6B4-877FDECD29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78235264-11F8-437B-9D58-33ED2FD278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A6CAE33-6F25-4FFF-BC85-7983ED7CA6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B9043CA3-EAE1-44A4-AF43-FDA5E3C8F5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E4004B83-A3D3-4042-BC5C-B641382226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821948F-54BF-4556-A29B-EB2A4AB001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2021CD6E-CEFB-4503-95FF-EDFC0C02B5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3B214200-3E89-4C35-8D8E-AF4D46B5C9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C1B4927A-C057-45CF-A1BB-B984DE9EE0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3BE50141-9BBA-4B91-AEB2-A21C762BE650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8A5B7C88-0481-4152-AB1A-57B2AAFEA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FA776614-84E9-4ACE-A117-861297C0E0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5D434BCB-444F-4684-B70F-2043D85BF3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123D1203-D634-4DEE-AA46-AD8E9311C8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99D2DD8A-9B3E-401E-9409-668E7C596F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48AE32DA-790E-4E82-A9A3-F628376E76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710800AD-09EA-44A4-9841-302DC2F63C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3D50795D-12DD-427B-9FE5-11D774FD3E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91A58A86-3F6E-45C0-AF26-F0A0D7EB5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A6AC9D0B-EE57-4386-91E3-C1092294D4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71FBFDE6-811B-4351-BDF6-045094276A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BADCE6DD-C61D-4CE1-9ED4-04B1446C0C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8EE047C4-EA26-4A99-90C9-0637FF4D2B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CBF093AA-1277-4FBF-A9B3-0C15CF38EF46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79C6081-EBA6-4311-B371-FF514134F115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E214A50-FD92-4C30-8C04-46D93F69BD4D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1A1CA302-A9A0-4F20-BD85-35785202ECA8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7613D41B-4F6C-4225-8F5A-21F48D4E1DBA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4023A9C3-9F83-42D5-B01B-8E4CAAC0ABB2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D2CC8847-9432-4384-AC74-3B7BF6D45113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77950ABC-DDC2-4133-8099-68BF32E8A9B2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B4564684-8AE7-4B7A-B103-E2A5A34D98D2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AF488AF4-BFFE-48FE-BC60-3BBBFE80973B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A437F01-C8A5-4EA9-89AC-FC889BFB952F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7C35F391-C844-4FEE-8931-4F74DE878C93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3CA170D7-F897-46AD-9315-706A39F08F55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93A036-1C3C-46EB-8F42-4EE17262CC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7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7DE02A2E-785E-44DF-A77E-B45127D1FAC1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7DE02A2E-785E-44DF-A77E-B45127D1FA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20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6" name="TextBox 34">
            <a:extLst>
              <a:ext uri="{FF2B5EF4-FFF2-40B4-BE49-F238E27FC236}">
                <a16:creationId xmlns:a16="http://schemas.microsoft.com/office/drawing/2014/main" id="{B18A309F-F305-4414-B3EA-DDE9735E4462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</p:spTree>
    <p:extLst>
      <p:ext uri="{BB962C8B-B14F-4D97-AF65-F5344CB8AC3E}">
        <p14:creationId xmlns:p14="http://schemas.microsoft.com/office/powerpoint/2010/main" val="19640671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8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/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8" name="TextBox 34">
                <a:extLst>
                  <a:ext uri="{FF2B5EF4-FFF2-40B4-BE49-F238E27FC236}">
                    <a16:creationId xmlns:a16="http://schemas.microsoft.com/office/drawing/2014/main" id="{ED86B1B1-C83D-4E1C-9259-794984D8D3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3444" y="4610755"/>
                <a:ext cx="327278" cy="430887"/>
              </a:xfrm>
              <a:prstGeom prst="rect">
                <a:avLst/>
              </a:prstGeom>
              <a:blipFill>
                <a:blip r:embed="rId9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0" name="Oval 269">
            <a:extLst>
              <a:ext uri="{FF2B5EF4-FFF2-40B4-BE49-F238E27FC236}">
                <a16:creationId xmlns:a16="http://schemas.microsoft.com/office/drawing/2014/main" id="{6C0DD427-2EFE-4075-9E20-F07C84E1B9CA}"/>
              </a:ext>
            </a:extLst>
          </p:cNvPr>
          <p:cNvSpPr/>
          <p:nvPr/>
        </p:nvSpPr>
        <p:spPr>
          <a:xfrm rot="5400000">
            <a:off x="8351857" y="4639623"/>
            <a:ext cx="762782" cy="765761"/>
          </a:xfrm>
          <a:prstGeom prst="ellipse">
            <a:avLst/>
          </a:prstGeom>
          <a:solidFill>
            <a:srgbClr val="F7BFBF">
              <a:alpha val="10000"/>
            </a:srgbClr>
          </a:solidFill>
          <a:ln>
            <a:solidFill>
              <a:srgbClr val="E4282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10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11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5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6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7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8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8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𝟎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9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20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0" name="TextBox 34">
            <a:extLst>
              <a:ext uri="{FF2B5EF4-FFF2-40B4-BE49-F238E27FC236}">
                <a16:creationId xmlns:a16="http://schemas.microsoft.com/office/drawing/2014/main" id="{82818D9F-54E8-41E6-8AC7-60FFE43062CE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</p:spTree>
    <p:extLst>
      <p:ext uri="{BB962C8B-B14F-4D97-AF65-F5344CB8AC3E}">
        <p14:creationId xmlns:p14="http://schemas.microsoft.com/office/powerpoint/2010/main" val="11068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𝟐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5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6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7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8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9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0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1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19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5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16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6680255" y="4273618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0" name="TextBox 34">
            <a:extLst>
              <a:ext uri="{FF2B5EF4-FFF2-40B4-BE49-F238E27FC236}">
                <a16:creationId xmlns:a16="http://schemas.microsoft.com/office/drawing/2014/main" id="{82818D9F-54E8-41E6-8AC7-60FFE43062CE}"/>
              </a:ext>
            </a:extLst>
          </p:cNvPr>
          <p:cNvSpPr txBox="1"/>
          <p:nvPr/>
        </p:nvSpPr>
        <p:spPr>
          <a:xfrm>
            <a:off x="9930926" y="5458583"/>
            <a:ext cx="14533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Indecisiv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/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blipFill>
                <a:blip r:embed="rId17"/>
                <a:stretch>
                  <a:fillRect r="-943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7" name="Oval 136">
            <a:extLst>
              <a:ext uri="{FF2B5EF4-FFF2-40B4-BE49-F238E27FC236}">
                <a16:creationId xmlns:a16="http://schemas.microsoft.com/office/drawing/2014/main" id="{25A7AA69-95A6-4EA6-8CB4-9057CF144500}"/>
              </a:ext>
            </a:extLst>
          </p:cNvPr>
          <p:cNvSpPr/>
          <p:nvPr/>
        </p:nvSpPr>
        <p:spPr>
          <a:xfrm rot="5400000">
            <a:off x="8269678" y="4784919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333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0B1806-E18F-4EAF-9C19-6DEAC49EEA12}"/>
              </a:ext>
            </a:extLst>
          </p:cNvPr>
          <p:cNvGrpSpPr/>
          <p:nvPr/>
        </p:nvGrpSpPr>
        <p:grpSpPr>
          <a:xfrm>
            <a:off x="7582712" y="4142432"/>
            <a:ext cx="663843" cy="349102"/>
            <a:chOff x="4915920" y="3569787"/>
            <a:chExt cx="783014" cy="411771"/>
          </a:xfrm>
        </p:grpSpPr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82000A5A-9D0C-45DB-8673-81FC4E9CF8EC}"/>
                </a:ext>
              </a:extLst>
            </p:cNvPr>
            <p:cNvGrpSpPr/>
            <p:nvPr/>
          </p:nvGrpSpPr>
          <p:grpSpPr>
            <a:xfrm rot="5400000">
              <a:off x="5433661" y="3705250"/>
              <a:ext cx="400735" cy="129810"/>
              <a:chOff x="8198583" y="5125817"/>
              <a:chExt cx="561352" cy="181838"/>
            </a:xfrm>
          </p:grpSpPr>
          <p:cxnSp>
            <p:nvCxnSpPr>
              <p:cNvPr id="405" name="Rechte verbindingslijn 304">
                <a:extLst>
                  <a:ext uri="{FF2B5EF4-FFF2-40B4-BE49-F238E27FC236}">
                    <a16:creationId xmlns:a16="http://schemas.microsoft.com/office/drawing/2014/main" id="{2D4B2E5B-A295-4DD8-8D5A-0951D3941F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8F5285ED-564A-4F8D-930C-8D1142D620B4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410" name="Rechte verbindingslijn 305">
                  <a:extLst>
                    <a:ext uri="{FF2B5EF4-FFF2-40B4-BE49-F238E27FC236}">
                      <a16:creationId xmlns:a16="http://schemas.microsoft.com/office/drawing/2014/main" id="{ABC2E98E-37CB-47B9-9B84-5EE5A75A21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1" name="Rechte verbindingslijn 305">
                  <a:extLst>
                    <a:ext uri="{FF2B5EF4-FFF2-40B4-BE49-F238E27FC236}">
                      <a16:creationId xmlns:a16="http://schemas.microsoft.com/office/drawing/2014/main" id="{23ED34BE-4D9D-4246-ABC0-CD43EB80BB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07" name="Group 406">
                <a:extLst>
                  <a:ext uri="{FF2B5EF4-FFF2-40B4-BE49-F238E27FC236}">
                    <a16:creationId xmlns:a16="http://schemas.microsoft.com/office/drawing/2014/main" id="{E04FA21F-4240-4A12-ABE4-7B6DA93CD150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408" name="Rechte verbindingslijn 305">
                  <a:extLst>
                    <a:ext uri="{FF2B5EF4-FFF2-40B4-BE49-F238E27FC236}">
                      <a16:creationId xmlns:a16="http://schemas.microsoft.com/office/drawing/2014/main" id="{D4C8BE3F-06FC-4B32-86F7-7733A96E486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Rechte verbindingslijn 305">
                  <a:extLst>
                    <a:ext uri="{FF2B5EF4-FFF2-40B4-BE49-F238E27FC236}">
                      <a16:creationId xmlns:a16="http://schemas.microsoft.com/office/drawing/2014/main" id="{B067F1F6-6F4F-48DB-894E-59FE23E3A1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14" name="Google Shape;349;p22">
              <a:extLst>
                <a:ext uri="{FF2B5EF4-FFF2-40B4-BE49-F238E27FC236}">
                  <a16:creationId xmlns:a16="http://schemas.microsoft.com/office/drawing/2014/main" id="{87A9F71B-F5DD-49BD-9406-840259A34F71}"/>
                </a:ext>
              </a:extLst>
            </p:cNvPr>
            <p:cNvSpPr/>
            <p:nvPr/>
          </p:nvSpPr>
          <p:spPr>
            <a:xfrm>
              <a:off x="4915920" y="3589488"/>
              <a:ext cx="632019" cy="3920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-0.9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E0E1B2-0530-48FC-809B-0455057176E9}"/>
              </a:ext>
            </a:extLst>
          </p:cNvPr>
          <p:cNvGrpSpPr/>
          <p:nvPr/>
        </p:nvGrpSpPr>
        <p:grpSpPr>
          <a:xfrm>
            <a:off x="7322297" y="2316994"/>
            <a:ext cx="1738462" cy="3990611"/>
            <a:chOff x="7322297" y="2316994"/>
            <a:chExt cx="1738462" cy="399061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A9508B8-E8E7-4317-9CBF-4A8D5D2B90AD}"/>
                </a:ext>
              </a:extLst>
            </p:cNvPr>
            <p:cNvGrpSpPr/>
            <p:nvPr/>
          </p:nvGrpSpPr>
          <p:grpSpPr>
            <a:xfrm>
              <a:off x="7322297" y="4569143"/>
              <a:ext cx="1738462" cy="1738462"/>
              <a:chOff x="7322297" y="4569143"/>
              <a:chExt cx="1738462" cy="1738462"/>
            </a:xfrm>
          </p:grpSpPr>
          <p:sp>
            <p:nvSpPr>
              <p:cNvPr id="496" name="Ovaal 268">
                <a:extLst>
                  <a:ext uri="{FF2B5EF4-FFF2-40B4-BE49-F238E27FC236}">
                    <a16:creationId xmlns:a16="http://schemas.microsoft.com/office/drawing/2014/main" id="{514784DF-BF52-4683-AFF3-4180B74F687E}"/>
                  </a:ext>
                </a:extLst>
              </p:cNvPr>
              <p:cNvSpPr/>
              <p:nvPr/>
            </p:nvSpPr>
            <p:spPr>
              <a:xfrm>
                <a:off x="7322297" y="4569143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55" name="Ovaal 268">
                <a:extLst>
                  <a:ext uri="{FF2B5EF4-FFF2-40B4-BE49-F238E27FC236}">
                    <a16:creationId xmlns:a16="http://schemas.microsoft.com/office/drawing/2014/main" id="{14AF1E11-4AD1-4DCD-BA62-E656791B708D}"/>
                  </a:ext>
                </a:extLst>
              </p:cNvPr>
              <p:cNvSpPr/>
              <p:nvPr/>
            </p:nvSpPr>
            <p:spPr>
              <a:xfrm>
                <a:off x="7385801" y="4632647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356" name="Group 355">
                <a:extLst>
                  <a:ext uri="{FF2B5EF4-FFF2-40B4-BE49-F238E27FC236}">
                    <a16:creationId xmlns:a16="http://schemas.microsoft.com/office/drawing/2014/main" id="{08F44B8C-E0BE-4913-B09A-E86FEFF3E82D}"/>
                  </a:ext>
                </a:extLst>
              </p:cNvPr>
              <p:cNvGrpSpPr/>
              <p:nvPr/>
            </p:nvGrpSpPr>
            <p:grpSpPr>
              <a:xfrm>
                <a:off x="7534497" y="4979200"/>
                <a:ext cx="1313589" cy="826890"/>
                <a:chOff x="6875773" y="2272434"/>
                <a:chExt cx="1549400" cy="975331"/>
              </a:xfrm>
            </p:grpSpPr>
            <p:sp>
              <p:nvSpPr>
                <p:cNvPr id="357" name="Rectangle: Rounded Corners 356">
                  <a:extLst>
                    <a:ext uri="{FF2B5EF4-FFF2-40B4-BE49-F238E27FC236}">
                      <a16:creationId xmlns:a16="http://schemas.microsoft.com/office/drawing/2014/main" id="{FB2DF9E5-A964-4F63-922E-FB006216BACC}"/>
                    </a:ext>
                  </a:extLst>
                </p:cNvPr>
                <p:cNvSpPr/>
                <p:nvPr/>
              </p:nvSpPr>
              <p:spPr>
                <a:xfrm>
                  <a:off x="6875773" y="2272434"/>
                  <a:ext cx="1549400" cy="975331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358" name="Straight Connector 357">
                  <a:extLst>
                    <a:ext uri="{FF2B5EF4-FFF2-40B4-BE49-F238E27FC236}">
                      <a16:creationId xmlns:a16="http://schemas.microsoft.com/office/drawing/2014/main" id="{4E053013-7B84-4D19-A510-45AD9260E7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89" y="2427144"/>
                  <a:ext cx="0" cy="669131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Straight Connector 358">
                  <a:extLst>
                    <a:ext uri="{FF2B5EF4-FFF2-40B4-BE49-F238E27FC236}">
                      <a16:creationId xmlns:a16="http://schemas.microsoft.com/office/drawing/2014/main" id="{7AC44117-391E-4214-A2D1-E6CC8D728D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3096275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60" name="Google Shape;349;p22">
                <a:extLst>
                  <a:ext uri="{FF2B5EF4-FFF2-40B4-BE49-F238E27FC236}">
                    <a16:creationId xmlns:a16="http://schemas.microsoft.com/office/drawing/2014/main" id="{F34B5BC9-2A1D-4BA5-9846-F8658DB9A7C3}"/>
                  </a:ext>
                </a:extLst>
              </p:cNvPr>
              <p:cNvSpPr/>
              <p:nvPr/>
            </p:nvSpPr>
            <p:spPr>
              <a:xfrm>
                <a:off x="7907399" y="5880064"/>
                <a:ext cx="535829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PARIS</a:t>
                </a:r>
                <a:endParaRPr b="1" kern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361" name="Group 360">
                <a:extLst>
                  <a:ext uri="{FF2B5EF4-FFF2-40B4-BE49-F238E27FC236}">
                    <a16:creationId xmlns:a16="http://schemas.microsoft.com/office/drawing/2014/main" id="{1E365FB4-C3A5-44A0-93D3-B9425577784B}"/>
                  </a:ext>
                </a:extLst>
              </p:cNvPr>
              <p:cNvGrpSpPr/>
              <p:nvPr/>
            </p:nvGrpSpPr>
            <p:grpSpPr>
              <a:xfrm>
                <a:off x="7666116" y="5061367"/>
                <a:ext cx="1028785" cy="594430"/>
                <a:chOff x="7946401" y="4296659"/>
                <a:chExt cx="1213469" cy="701140"/>
              </a:xfrm>
            </p:grpSpPr>
            <p:grpSp>
              <p:nvGrpSpPr>
                <p:cNvPr id="362" name="Group 361">
                  <a:extLst>
                    <a:ext uri="{FF2B5EF4-FFF2-40B4-BE49-F238E27FC236}">
                      <a16:creationId xmlns:a16="http://schemas.microsoft.com/office/drawing/2014/main" id="{13B68D0F-D18A-4312-96E8-F8086F8B7C85}"/>
                    </a:ext>
                  </a:extLst>
                </p:cNvPr>
                <p:cNvGrpSpPr/>
                <p:nvPr/>
              </p:nvGrpSpPr>
              <p:grpSpPr>
                <a:xfrm>
                  <a:off x="7983544" y="4332659"/>
                  <a:ext cx="1139587" cy="635529"/>
                  <a:chOff x="7983544" y="4332659"/>
                  <a:chExt cx="1139587" cy="635529"/>
                </a:xfrm>
              </p:grpSpPr>
              <p:cxnSp>
                <p:nvCxnSpPr>
                  <p:cNvPr id="370" name="Straight Connector 369">
                    <a:extLst>
                      <a:ext uri="{FF2B5EF4-FFF2-40B4-BE49-F238E27FC236}">
                        <a16:creationId xmlns:a16="http://schemas.microsoft.com/office/drawing/2014/main" id="{E9A27212-9FCB-4CA5-A6C9-B8EE29C693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44" y="4332659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1" name="Straight Connector 370">
                    <a:extLst>
                      <a:ext uri="{FF2B5EF4-FFF2-40B4-BE49-F238E27FC236}">
                        <a16:creationId xmlns:a16="http://schemas.microsoft.com/office/drawing/2014/main" id="{10297F81-1EBD-4A2E-9928-92EFE28D31E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1" y="4514414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2" name="Straight Connector 371">
                    <a:extLst>
                      <a:ext uri="{FF2B5EF4-FFF2-40B4-BE49-F238E27FC236}">
                        <a16:creationId xmlns:a16="http://schemas.microsoft.com/office/drawing/2014/main" id="{BEE98957-CAC1-4C3C-9973-FCEEE7618E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49" y="4531297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3" name="Straight Connector 372">
                    <a:extLst>
                      <a:ext uri="{FF2B5EF4-FFF2-40B4-BE49-F238E27FC236}">
                        <a16:creationId xmlns:a16="http://schemas.microsoft.com/office/drawing/2014/main" id="{41C42B1A-DF88-4949-9F5F-A9E5A85CAA6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2" y="4529437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4" name="Straight Connector 373">
                    <a:extLst>
                      <a:ext uri="{FF2B5EF4-FFF2-40B4-BE49-F238E27FC236}">
                        <a16:creationId xmlns:a16="http://schemas.microsoft.com/office/drawing/2014/main" id="{F665BCBB-E312-485E-AF95-31439232988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7" y="4657618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5" name="Straight Connector 374">
                    <a:extLst>
                      <a:ext uri="{FF2B5EF4-FFF2-40B4-BE49-F238E27FC236}">
                        <a16:creationId xmlns:a16="http://schemas.microsoft.com/office/drawing/2014/main" id="{09F37BC5-7262-4397-96BC-09388DDF30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63" name="Oval 362">
                  <a:extLst>
                    <a:ext uri="{FF2B5EF4-FFF2-40B4-BE49-F238E27FC236}">
                      <a16:creationId xmlns:a16="http://schemas.microsoft.com/office/drawing/2014/main" id="{0382D7EE-BB58-45A7-A60B-506F45E6AB2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401" y="429665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4" name="Oval 363">
                  <a:extLst>
                    <a:ext uri="{FF2B5EF4-FFF2-40B4-BE49-F238E27FC236}">
                      <a16:creationId xmlns:a16="http://schemas.microsoft.com/office/drawing/2014/main" id="{00DB2CE2-C231-44B9-82C1-65BFEC4FF60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22" y="447448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5" name="Oval 364">
                  <a:extLst>
                    <a:ext uri="{FF2B5EF4-FFF2-40B4-BE49-F238E27FC236}">
                      <a16:creationId xmlns:a16="http://schemas.microsoft.com/office/drawing/2014/main" id="{D2F5672B-B760-415B-9AEF-84C59A27698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38" y="458350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6" name="Oval 365">
                  <a:extLst>
                    <a:ext uri="{FF2B5EF4-FFF2-40B4-BE49-F238E27FC236}">
                      <a16:creationId xmlns:a16="http://schemas.microsoft.com/office/drawing/2014/main" id="{01180347-6274-4692-95AB-82543E2B88A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78" y="4503145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7" name="Oval 366">
                  <a:extLst>
                    <a:ext uri="{FF2B5EF4-FFF2-40B4-BE49-F238E27FC236}">
                      <a16:creationId xmlns:a16="http://schemas.microsoft.com/office/drawing/2014/main" id="{660584BB-B8F5-4CBD-AB32-E3D1453F539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55" y="472547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8" name="Oval 367">
                  <a:extLst>
                    <a:ext uri="{FF2B5EF4-FFF2-40B4-BE49-F238E27FC236}">
                      <a16:creationId xmlns:a16="http://schemas.microsoft.com/office/drawing/2014/main" id="{63D0DA49-C230-4369-96B6-6B1F0461AB6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9" y="46280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369" name="Oval 368">
                  <a:extLst>
                    <a:ext uri="{FF2B5EF4-FFF2-40B4-BE49-F238E27FC236}">
                      <a16:creationId xmlns:a16="http://schemas.microsoft.com/office/drawing/2014/main" id="{03B95E1E-9961-4653-8C20-AEF96257F66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0C9A3C-1B9E-4F88-8CF8-B83FB2F6CF29}"/>
                </a:ext>
              </a:extLst>
            </p:cNvPr>
            <p:cNvGrpSpPr/>
            <p:nvPr/>
          </p:nvGrpSpPr>
          <p:grpSpPr>
            <a:xfrm>
              <a:off x="7322297" y="2316994"/>
              <a:ext cx="1738462" cy="1738462"/>
              <a:chOff x="7322297" y="2316994"/>
              <a:chExt cx="1738462" cy="1738462"/>
            </a:xfrm>
          </p:grpSpPr>
          <p:sp>
            <p:nvSpPr>
              <p:cNvPr id="470" name="Ovaal 268">
                <a:extLst>
                  <a:ext uri="{FF2B5EF4-FFF2-40B4-BE49-F238E27FC236}">
                    <a16:creationId xmlns:a16="http://schemas.microsoft.com/office/drawing/2014/main" id="{30C46DBE-F261-4625-8678-D1915AB47627}"/>
                  </a:ext>
                </a:extLst>
              </p:cNvPr>
              <p:cNvSpPr/>
              <p:nvPr/>
            </p:nvSpPr>
            <p:spPr>
              <a:xfrm>
                <a:off x="7322297" y="2316994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22" name="Ovaal 268">
                <a:extLst>
                  <a:ext uri="{FF2B5EF4-FFF2-40B4-BE49-F238E27FC236}">
                    <a16:creationId xmlns:a16="http://schemas.microsoft.com/office/drawing/2014/main" id="{C7F868A0-38E1-497F-9196-AEDEE1B153CB}"/>
                  </a:ext>
                </a:extLst>
              </p:cNvPr>
              <p:cNvSpPr/>
              <p:nvPr/>
            </p:nvSpPr>
            <p:spPr>
              <a:xfrm>
                <a:off x="7385801" y="2380498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9BEEDD8E-652F-4FDE-AC98-153AEAA6B895}"/>
                  </a:ext>
                </a:extLst>
              </p:cNvPr>
              <p:cNvGrpSpPr/>
              <p:nvPr/>
            </p:nvGrpSpPr>
            <p:grpSpPr>
              <a:xfrm>
                <a:off x="7534498" y="2727051"/>
                <a:ext cx="1313589" cy="826890"/>
                <a:chOff x="6875774" y="1926580"/>
                <a:chExt cx="1549400" cy="826890"/>
              </a:xfrm>
            </p:grpSpPr>
            <p:sp>
              <p:nvSpPr>
                <p:cNvPr id="287" name="Rectangle: Rounded Corners 286">
                  <a:extLst>
                    <a:ext uri="{FF2B5EF4-FFF2-40B4-BE49-F238E27FC236}">
                      <a16:creationId xmlns:a16="http://schemas.microsoft.com/office/drawing/2014/main" id="{E89DEC33-8CE4-43A3-82EC-1321935E7D57}"/>
                    </a:ext>
                  </a:extLst>
                </p:cNvPr>
                <p:cNvSpPr/>
                <p:nvPr/>
              </p:nvSpPr>
              <p:spPr>
                <a:xfrm>
                  <a:off x="6875774" y="1926580"/>
                  <a:ext cx="1549400" cy="826890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285" name="Straight Connector 284">
                  <a:extLst>
                    <a:ext uri="{FF2B5EF4-FFF2-40B4-BE49-F238E27FC236}">
                      <a16:creationId xmlns:a16="http://schemas.microsoft.com/office/drawing/2014/main" id="{A1F9B7A7-DE22-419B-9982-2F39D80757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90" y="2057744"/>
                  <a:ext cx="0" cy="567292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>
                  <a:extLst>
                    <a:ext uri="{FF2B5EF4-FFF2-40B4-BE49-F238E27FC236}">
                      <a16:creationId xmlns:a16="http://schemas.microsoft.com/office/drawing/2014/main" id="{392B8175-4A3E-49F5-8F10-C8066D4447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2624514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23" name="Google Shape;349;p22">
                <a:extLst>
                  <a:ext uri="{FF2B5EF4-FFF2-40B4-BE49-F238E27FC236}">
                    <a16:creationId xmlns:a16="http://schemas.microsoft.com/office/drawing/2014/main" id="{C1619E62-297F-4B7D-ACD2-D188CD88FAD7}"/>
                  </a:ext>
                </a:extLst>
              </p:cNvPr>
              <p:cNvSpPr/>
              <p:nvPr/>
            </p:nvSpPr>
            <p:spPr>
              <a:xfrm>
                <a:off x="7827819" y="3627915"/>
                <a:ext cx="726943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chemeClr val="accent1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SYDNEY</a:t>
                </a:r>
                <a:endParaRPr b="1" kern="0" dirty="0">
                  <a:solidFill>
                    <a:schemeClr val="accent1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315" name="Group 314">
                <a:extLst>
                  <a:ext uri="{FF2B5EF4-FFF2-40B4-BE49-F238E27FC236}">
                    <a16:creationId xmlns:a16="http://schemas.microsoft.com/office/drawing/2014/main" id="{D5745995-8343-42A7-A4ED-0A2226F386D3}"/>
                  </a:ext>
                </a:extLst>
              </p:cNvPr>
              <p:cNvGrpSpPr/>
              <p:nvPr/>
            </p:nvGrpSpPr>
            <p:grpSpPr>
              <a:xfrm flipV="1">
                <a:off x="7666118" y="2809218"/>
                <a:ext cx="1028799" cy="594429"/>
                <a:chOff x="7946387" y="4296660"/>
                <a:chExt cx="1213483" cy="701139"/>
              </a:xfrm>
            </p:grpSpPr>
            <p:grpSp>
              <p:nvGrpSpPr>
                <p:cNvPr id="263" name="Group 262">
                  <a:extLst>
                    <a:ext uri="{FF2B5EF4-FFF2-40B4-BE49-F238E27FC236}">
                      <a16:creationId xmlns:a16="http://schemas.microsoft.com/office/drawing/2014/main" id="{7C3D26ED-4C41-48A4-9386-4B1D44113A00}"/>
                    </a:ext>
                  </a:extLst>
                </p:cNvPr>
                <p:cNvGrpSpPr/>
                <p:nvPr/>
              </p:nvGrpSpPr>
              <p:grpSpPr>
                <a:xfrm>
                  <a:off x="7983528" y="4332660"/>
                  <a:ext cx="1139584" cy="635530"/>
                  <a:chOff x="7983550" y="4332658"/>
                  <a:chExt cx="1139581" cy="635530"/>
                </a:xfrm>
              </p:grpSpPr>
              <p:cxnSp>
                <p:nvCxnSpPr>
                  <p:cNvPr id="235" name="Straight Connector 234">
                    <a:extLst>
                      <a:ext uri="{FF2B5EF4-FFF2-40B4-BE49-F238E27FC236}">
                        <a16:creationId xmlns:a16="http://schemas.microsoft.com/office/drawing/2014/main" id="{0C3FB161-BC5C-4D04-B827-CDA9ED131A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50" y="4332658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Straight Connector 235">
                    <a:extLst>
                      <a:ext uri="{FF2B5EF4-FFF2-40B4-BE49-F238E27FC236}">
                        <a16:creationId xmlns:a16="http://schemas.microsoft.com/office/drawing/2014/main" id="{23332F15-1F3B-44C2-91DE-2F20074C46C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4" y="4514413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Straight Connector 236">
                    <a:extLst>
                      <a:ext uri="{FF2B5EF4-FFF2-40B4-BE49-F238E27FC236}">
                        <a16:creationId xmlns:a16="http://schemas.microsoft.com/office/drawing/2014/main" id="{226FAB48-18D6-4AB9-95C8-7C5796E20D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54" y="4531295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Straight Connector 237">
                    <a:extLst>
                      <a:ext uri="{FF2B5EF4-FFF2-40B4-BE49-F238E27FC236}">
                        <a16:creationId xmlns:a16="http://schemas.microsoft.com/office/drawing/2014/main" id="{6A01AD9A-A2C0-4C59-8E8D-19FCE313DF8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3" y="4529433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Straight Connector 238">
                    <a:extLst>
                      <a:ext uri="{FF2B5EF4-FFF2-40B4-BE49-F238E27FC236}">
                        <a16:creationId xmlns:a16="http://schemas.microsoft.com/office/drawing/2014/main" id="{A738CF75-4D84-416B-A578-5255EFE8E8D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8" y="4657617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Straight Connector 239">
                    <a:extLst>
                      <a:ext uri="{FF2B5EF4-FFF2-40B4-BE49-F238E27FC236}">
                        <a16:creationId xmlns:a16="http://schemas.microsoft.com/office/drawing/2014/main" id="{96B4FCF3-22A0-45B1-AA79-5A20CB399A8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62" name="Oval 261">
                  <a:extLst>
                    <a:ext uri="{FF2B5EF4-FFF2-40B4-BE49-F238E27FC236}">
                      <a16:creationId xmlns:a16="http://schemas.microsoft.com/office/drawing/2014/main" id="{561BA0D9-5269-4FB0-8C04-7C26374C3F0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387" y="429666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4" name="Oval 263">
                  <a:extLst>
                    <a:ext uri="{FF2B5EF4-FFF2-40B4-BE49-F238E27FC236}">
                      <a16:creationId xmlns:a16="http://schemas.microsoft.com/office/drawing/2014/main" id="{839AF5C3-D019-42C6-84A2-4EA4F7B908A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06" y="447447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5" name="Oval 264">
                  <a:extLst>
                    <a:ext uri="{FF2B5EF4-FFF2-40B4-BE49-F238E27FC236}">
                      <a16:creationId xmlns:a16="http://schemas.microsoft.com/office/drawing/2014/main" id="{DA0FF333-623F-45DC-9CC3-C65A5F5763F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24" y="45835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6" name="Oval 265">
                  <a:extLst>
                    <a:ext uri="{FF2B5EF4-FFF2-40B4-BE49-F238E27FC236}">
                      <a16:creationId xmlns:a16="http://schemas.microsoft.com/office/drawing/2014/main" id="{ECD710D7-CC34-4C89-9845-61CFA2376B5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63" y="450314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7" name="Oval 266">
                  <a:extLst>
                    <a:ext uri="{FF2B5EF4-FFF2-40B4-BE49-F238E27FC236}">
                      <a16:creationId xmlns:a16="http://schemas.microsoft.com/office/drawing/2014/main" id="{81BB435E-7ED9-42BC-AC6D-B2D78245E3F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41" y="472546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8" name="Oval 267">
                  <a:extLst>
                    <a:ext uri="{FF2B5EF4-FFF2-40B4-BE49-F238E27FC236}">
                      <a16:creationId xmlns:a16="http://schemas.microsoft.com/office/drawing/2014/main" id="{55553EE9-6793-4F65-BF58-68B50C13B0E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3" y="462800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9" name="Oval 268">
                  <a:extLst>
                    <a:ext uri="{FF2B5EF4-FFF2-40B4-BE49-F238E27FC236}">
                      <a16:creationId xmlns:a16="http://schemas.microsoft.com/office/drawing/2014/main" id="{371E277E-1D99-4C26-A005-9DF09C75001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4DCD937-0279-42C3-B0F5-77BE0AC22484}"/>
              </a:ext>
            </a:extLst>
          </p:cNvPr>
          <p:cNvGrpSpPr/>
          <p:nvPr/>
        </p:nvGrpSpPr>
        <p:grpSpPr>
          <a:xfrm>
            <a:off x="9122317" y="3244476"/>
            <a:ext cx="549802" cy="469900"/>
            <a:chOff x="6893330" y="2510641"/>
            <a:chExt cx="648501" cy="554255"/>
          </a:xfrm>
        </p:grpSpPr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69841A1C-C3DD-49AF-91C8-FC68957E4E78}"/>
                </a:ext>
              </a:extLst>
            </p:cNvPr>
            <p:cNvGrpSpPr/>
            <p:nvPr/>
          </p:nvGrpSpPr>
          <p:grpSpPr>
            <a:xfrm rot="1457709">
              <a:off x="6893330" y="2935086"/>
              <a:ext cx="400735" cy="129810"/>
              <a:chOff x="8198583" y="5125817"/>
              <a:chExt cx="561352" cy="181838"/>
            </a:xfrm>
          </p:grpSpPr>
          <p:cxnSp>
            <p:nvCxnSpPr>
              <p:cNvPr id="175" name="Rechte verbindingslijn 304">
                <a:extLst>
                  <a:ext uri="{FF2B5EF4-FFF2-40B4-BE49-F238E27FC236}">
                    <a16:creationId xmlns:a16="http://schemas.microsoft.com/office/drawing/2014/main" id="{08128090-C701-4736-A565-FBB103DFE2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16EE00A3-9821-4342-97DE-B89BCE691CB6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80" name="Rechte verbindingslijn 305">
                  <a:extLst>
                    <a:ext uri="{FF2B5EF4-FFF2-40B4-BE49-F238E27FC236}">
                      <a16:creationId xmlns:a16="http://schemas.microsoft.com/office/drawing/2014/main" id="{CADB7FED-A143-4A1B-89B0-CCD607D3D1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Rechte verbindingslijn 305">
                  <a:extLst>
                    <a:ext uri="{FF2B5EF4-FFF2-40B4-BE49-F238E27FC236}">
                      <a16:creationId xmlns:a16="http://schemas.microsoft.com/office/drawing/2014/main" id="{A3339D89-B431-4B52-B38C-D08602E651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31E33A92-EDE2-45F8-B18E-4B55203587B6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78" name="Rechte verbindingslijn 305">
                  <a:extLst>
                    <a:ext uri="{FF2B5EF4-FFF2-40B4-BE49-F238E27FC236}">
                      <a16:creationId xmlns:a16="http://schemas.microsoft.com/office/drawing/2014/main" id="{BBB84DBC-7FB9-4106-9674-3349E29351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Rechte verbindingslijn 305">
                  <a:extLst>
                    <a:ext uri="{FF2B5EF4-FFF2-40B4-BE49-F238E27FC236}">
                      <a16:creationId xmlns:a16="http://schemas.microsoft.com/office/drawing/2014/main" id="{D2829495-C0DE-428F-A05E-BD6A188F14A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74" name="Google Shape;349;p22">
              <a:extLst>
                <a:ext uri="{FF2B5EF4-FFF2-40B4-BE49-F238E27FC236}">
                  <a16:creationId xmlns:a16="http://schemas.microsoft.com/office/drawing/2014/main" id="{31F3D7B6-25E9-4A15-9636-DC0D029BB9D2}"/>
                </a:ext>
              </a:extLst>
            </p:cNvPr>
            <p:cNvSpPr/>
            <p:nvPr/>
          </p:nvSpPr>
          <p:spPr>
            <a:xfrm>
              <a:off x="6909813" y="2510641"/>
              <a:ext cx="632018" cy="3920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 dirty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-0.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BE328DE-2543-4F3F-992F-968215453D55}"/>
              </a:ext>
            </a:extLst>
          </p:cNvPr>
          <p:cNvGrpSpPr/>
          <p:nvPr/>
        </p:nvGrpSpPr>
        <p:grpSpPr>
          <a:xfrm>
            <a:off x="9565259" y="3443069"/>
            <a:ext cx="1738462" cy="1738462"/>
            <a:chOff x="9119057" y="3443069"/>
            <a:chExt cx="1738462" cy="1738462"/>
          </a:xfrm>
        </p:grpSpPr>
        <p:sp>
          <p:nvSpPr>
            <p:cNvPr id="469" name="Ovaal 268">
              <a:extLst>
                <a:ext uri="{FF2B5EF4-FFF2-40B4-BE49-F238E27FC236}">
                  <a16:creationId xmlns:a16="http://schemas.microsoft.com/office/drawing/2014/main" id="{3F38BD63-0CA0-4E9A-95C0-B58E31CD44CF}"/>
                </a:ext>
              </a:extLst>
            </p:cNvPr>
            <p:cNvSpPr/>
            <p:nvPr/>
          </p:nvSpPr>
          <p:spPr>
            <a:xfrm>
              <a:off x="9119057" y="3443069"/>
              <a:ext cx="1738462" cy="173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104" name="Ovaal 268">
              <a:extLst>
                <a:ext uri="{FF2B5EF4-FFF2-40B4-BE49-F238E27FC236}">
                  <a16:creationId xmlns:a16="http://schemas.microsoft.com/office/drawing/2014/main" id="{BB59D9B8-E521-40BD-8643-F3BBFB8D250E}"/>
                </a:ext>
              </a:extLst>
            </p:cNvPr>
            <p:cNvSpPr/>
            <p:nvPr/>
          </p:nvSpPr>
          <p:spPr>
            <a:xfrm>
              <a:off x="9182561" y="3506573"/>
              <a:ext cx="1611454" cy="161145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105" name="Google Shape;349;p22">
              <a:extLst>
                <a:ext uri="{FF2B5EF4-FFF2-40B4-BE49-F238E27FC236}">
                  <a16:creationId xmlns:a16="http://schemas.microsoft.com/office/drawing/2014/main" id="{0F093DB6-1534-4572-AE77-57A945CDF941}"/>
                </a:ext>
              </a:extLst>
            </p:cNvPr>
            <p:cNvSpPr/>
            <p:nvPr/>
          </p:nvSpPr>
          <p:spPr>
            <a:xfrm>
              <a:off x="9596873" y="4761138"/>
              <a:ext cx="732956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 dirty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LA</a:t>
              </a:r>
              <a:endParaRPr sz="1600" b="1" kern="0" dirty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54209E5E-8385-4E27-BEC2-6969AE6DC5E8}"/>
                </a:ext>
              </a:extLst>
            </p:cNvPr>
            <p:cNvSpPr/>
            <p:nvPr/>
          </p:nvSpPr>
          <p:spPr>
            <a:xfrm>
              <a:off x="9347980" y="3834547"/>
              <a:ext cx="1313589" cy="826890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3377F480-D1E2-4073-9D87-4F1C72F77A54}"/>
                </a:ext>
              </a:extLst>
            </p:cNvPr>
            <p:cNvGrpSpPr/>
            <p:nvPr/>
          </p:nvGrpSpPr>
          <p:grpSpPr>
            <a:xfrm>
              <a:off x="9462476" y="4014199"/>
              <a:ext cx="1075403" cy="459184"/>
              <a:chOff x="9099433" y="1869482"/>
              <a:chExt cx="1268476" cy="541618"/>
            </a:xfrm>
          </p:grpSpPr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09DB6100-59CB-4EDD-AC61-E97AD1CF57B9}"/>
                  </a:ext>
                </a:extLst>
              </p:cNvPr>
              <p:cNvGrpSpPr/>
              <p:nvPr/>
            </p:nvGrpSpPr>
            <p:grpSpPr>
              <a:xfrm>
                <a:off x="9135431" y="1898772"/>
                <a:ext cx="1191179" cy="483545"/>
                <a:chOff x="9210675" y="2962276"/>
                <a:chExt cx="2003847" cy="813435"/>
              </a:xfrm>
            </p:grpSpPr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448D0634-CD12-44A8-A198-0CD8D4B9F8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10675" y="3440430"/>
                  <a:ext cx="354330" cy="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1BA00327-7295-4DE6-9B81-0DCB6DDE59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565005" y="3440430"/>
                  <a:ext cx="259080" cy="33528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8B443680-7F67-47AD-BDA9-1552A43483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24085" y="3439477"/>
                  <a:ext cx="178593" cy="336234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Straight Connector 119">
                  <a:extLst>
                    <a:ext uri="{FF2B5EF4-FFF2-40B4-BE49-F238E27FC236}">
                      <a16:creationId xmlns:a16="http://schemas.microsoft.com/office/drawing/2014/main" id="{579486EB-23DD-4B7B-9F8D-36F972A8B7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002678" y="3252788"/>
                  <a:ext cx="117635" cy="186689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D69A7BCE-B0E9-475A-B513-FFE9D4F5A3B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143984" y="2962276"/>
                  <a:ext cx="443055" cy="264468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16B0E3A9-8E78-4C27-BA75-7164E99933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7037" y="2962276"/>
                  <a:ext cx="627485" cy="157303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6434729B-1361-47B2-B574-563315885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09943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7E42237C-4931-4425-9382-77FF2976124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0241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0CB0F65-C12E-4AEF-9A57-C227A37B210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464080" y="233910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1CC1E731-CBB4-4402-A696-DD82C3D7895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68789" y="215364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98CEFFF-41FF-4191-A136-89FEE547FD9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654243" y="201997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F88FB14-F366-434B-ACA4-F7D497AD344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20681" y="186948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8DB814DB-DDB9-438D-A6F2-362F865D01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95909" y="196008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</p:grp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3BE6010E-856B-4EE3-93B9-4F2007586BF7}"/>
                </a:ext>
              </a:extLst>
            </p:cNvPr>
            <p:cNvCxnSpPr>
              <a:cxnSpLocks/>
            </p:cNvCxnSpPr>
            <p:nvPr/>
          </p:nvCxnSpPr>
          <p:spPr>
            <a:xfrm>
              <a:off x="9444304" y="3965711"/>
              <a:ext cx="0" cy="567292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EFD135E-6B7E-46F3-970C-4175EA6B84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40265" y="4536925"/>
              <a:ext cx="1091486" cy="0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BCF87A7-9C3E-4520-8B80-0A865A6B3518}"/>
              </a:ext>
            </a:extLst>
          </p:cNvPr>
          <p:cNvGrpSpPr/>
          <p:nvPr/>
        </p:nvGrpSpPr>
        <p:grpSpPr>
          <a:xfrm>
            <a:off x="9122317" y="5123903"/>
            <a:ext cx="549802" cy="457563"/>
            <a:chOff x="6893330" y="4727459"/>
            <a:chExt cx="648501" cy="539704"/>
          </a:xfrm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5E1CBCD0-7694-49B9-B745-40246B14240B}"/>
                </a:ext>
              </a:extLst>
            </p:cNvPr>
            <p:cNvGrpSpPr/>
            <p:nvPr/>
          </p:nvGrpSpPr>
          <p:grpSpPr>
            <a:xfrm rot="-1440000">
              <a:off x="6893330" y="4727459"/>
              <a:ext cx="400735" cy="129810"/>
              <a:chOff x="8198583" y="5125817"/>
              <a:chExt cx="561352" cy="181838"/>
            </a:xfrm>
          </p:grpSpPr>
          <p:cxnSp>
            <p:nvCxnSpPr>
              <p:cNvPr id="189" name="Rechte verbindingslijn 304">
                <a:extLst>
                  <a:ext uri="{FF2B5EF4-FFF2-40B4-BE49-F238E27FC236}">
                    <a16:creationId xmlns:a16="http://schemas.microsoft.com/office/drawing/2014/main" id="{3B10502D-8221-4A50-BC90-FDE75E3DD3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CDCDC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30124E80-C7A8-4BA8-BBB6-D960B216F73C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94" name="Rechte verbindingslijn 305">
                  <a:extLst>
                    <a:ext uri="{FF2B5EF4-FFF2-40B4-BE49-F238E27FC236}">
                      <a16:creationId xmlns:a16="http://schemas.microsoft.com/office/drawing/2014/main" id="{FA360F5D-BC26-4063-9CF3-AA953847CD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Rechte verbindingslijn 305">
                  <a:extLst>
                    <a:ext uri="{FF2B5EF4-FFF2-40B4-BE49-F238E27FC236}">
                      <a16:creationId xmlns:a16="http://schemas.microsoft.com/office/drawing/2014/main" id="{563CD136-B742-4592-827F-04B9A7DE72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8A953C68-01B7-40D2-B65A-D0DF86910967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92" name="Rechte verbindingslijn 305">
                  <a:extLst>
                    <a:ext uri="{FF2B5EF4-FFF2-40B4-BE49-F238E27FC236}">
                      <a16:creationId xmlns:a16="http://schemas.microsoft.com/office/drawing/2014/main" id="{4E5F8F55-7469-45E3-9F86-136C2935F8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Rechte verbindingslijn 305">
                  <a:extLst>
                    <a:ext uri="{FF2B5EF4-FFF2-40B4-BE49-F238E27FC236}">
                      <a16:creationId xmlns:a16="http://schemas.microsoft.com/office/drawing/2014/main" id="{1856C273-B41A-43BA-A076-59A958A407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CDCDC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88" name="Google Shape;349;p22">
              <a:extLst>
                <a:ext uri="{FF2B5EF4-FFF2-40B4-BE49-F238E27FC236}">
                  <a16:creationId xmlns:a16="http://schemas.microsoft.com/office/drawing/2014/main" id="{9065098F-27A5-4059-A793-C172B6AF2AC2}"/>
                </a:ext>
              </a:extLst>
            </p:cNvPr>
            <p:cNvSpPr/>
            <p:nvPr/>
          </p:nvSpPr>
          <p:spPr>
            <a:xfrm>
              <a:off x="6909813" y="4875092"/>
              <a:ext cx="632018" cy="3920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>
                  <a:solidFill>
                    <a:srgbClr val="C81919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0.5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69989FA-6DD3-4A3C-AF5B-C9B29DB05BE6}"/>
              </a:ext>
            </a:extLst>
          </p:cNvPr>
          <p:cNvGrpSpPr/>
          <p:nvPr/>
        </p:nvGrpSpPr>
        <p:grpSpPr>
          <a:xfrm>
            <a:off x="7387250" y="854904"/>
            <a:ext cx="4026989" cy="1462570"/>
            <a:chOff x="6597602" y="854904"/>
            <a:chExt cx="4026989" cy="1462570"/>
          </a:xfrm>
        </p:grpSpPr>
        <p:sp>
          <p:nvSpPr>
            <p:cNvPr id="9" name="Cloud 8">
              <a:extLst>
                <a:ext uri="{FF2B5EF4-FFF2-40B4-BE49-F238E27FC236}">
                  <a16:creationId xmlns:a16="http://schemas.microsoft.com/office/drawing/2014/main" id="{BFE47A46-62D3-4C8C-B36F-091E8C6A161A}"/>
                </a:ext>
              </a:extLst>
            </p:cNvPr>
            <p:cNvSpPr/>
            <p:nvPr/>
          </p:nvSpPr>
          <p:spPr>
            <a:xfrm>
              <a:off x="6604523" y="85490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E85FE497-6DCB-4F9B-91F6-9D3D90652B02}"/>
                    </a:ext>
                  </a:extLst>
                </p:cNvPr>
                <p:cNvSpPr txBox="1"/>
                <p:nvPr/>
              </p:nvSpPr>
              <p:spPr>
                <a:xfrm>
                  <a:off x="7323431" y="939837"/>
                  <a:ext cx="2904479" cy="12420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kern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US" sz="2000" i="1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1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3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,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4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</m:e>
                        </m:d>
                        <m:r>
                          <a:rPr lang="en-US" sz="2000" ker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=</m:t>
                        </m:r>
                        <m:r>
                          <a:rPr lang="en-US" sz="2000" b="0" i="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−</m:t>
                        </m:r>
                        <m:r>
                          <a:rPr lang="en-US" sz="200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0</m:t>
                        </m:r>
                        <m:r>
                          <a:rPr lang="en-US" sz="2000" b="0" i="0" kern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.9</m:t>
                        </m:r>
                      </m:oMath>
                    </m:oMathPara>
                  </a14:m>
                  <a:endParaRPr lang="en-NL" sz="20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 Light" panose="020B0502040204020203" pitchFamily="34" charset="0"/>
                  </a:endParaRPr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E85FE497-6DCB-4F9B-91F6-9D3D90652B0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23431" y="939837"/>
                  <a:ext cx="2904479" cy="1242007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E15B7F04-7648-41C3-A15B-553EE2BC9108}"/>
                    </a:ext>
                  </a:extLst>
                </p:cNvPr>
                <p:cNvSpPr txBox="1"/>
                <p:nvPr/>
              </p:nvSpPr>
              <p:spPr>
                <a:xfrm rot="5400000">
                  <a:off x="8754504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E15B7F04-7648-41C3-A15B-553EE2BC910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754504" y="1757477"/>
                  <a:ext cx="390940" cy="400110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550022EC-28AB-425A-9E86-3B9D66AF1934}"/>
                    </a:ext>
                  </a:extLst>
                </p:cNvPr>
                <p:cNvSpPr txBox="1"/>
                <p:nvPr/>
              </p:nvSpPr>
              <p:spPr>
                <a:xfrm rot="5400000">
                  <a:off x="8261290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550022EC-28AB-425A-9E86-3B9D66AF19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261290" y="1757477"/>
                  <a:ext cx="390940" cy="40011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5" name="Cloud 144">
              <a:extLst>
                <a:ext uri="{FF2B5EF4-FFF2-40B4-BE49-F238E27FC236}">
                  <a16:creationId xmlns:a16="http://schemas.microsoft.com/office/drawing/2014/main" id="{9F25AF08-90D3-4A2A-866A-8278A3987E00}"/>
                </a:ext>
              </a:extLst>
            </p:cNvPr>
            <p:cNvSpPr/>
            <p:nvPr/>
          </p:nvSpPr>
          <p:spPr>
            <a:xfrm>
              <a:off x="6597602" y="86334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37" name="Freeform 5">
            <a:extLst>
              <a:ext uri="{FF2B5EF4-FFF2-40B4-BE49-F238E27FC236}">
                <a16:creationId xmlns:a16="http://schemas.microsoft.com/office/drawing/2014/main" id="{A68292E0-7281-4D59-A171-CE0E26D81A81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8" name="Groep 2">
            <a:extLst>
              <a:ext uri="{FF2B5EF4-FFF2-40B4-BE49-F238E27FC236}">
                <a16:creationId xmlns:a16="http://schemas.microsoft.com/office/drawing/2014/main" id="{57A2C601-F9C6-4812-8DF1-D5B474512C2E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9" name="Oval 6">
              <a:extLst>
                <a:ext uri="{FF2B5EF4-FFF2-40B4-BE49-F238E27FC236}">
                  <a16:creationId xmlns:a16="http://schemas.microsoft.com/office/drawing/2014/main" id="{88E95195-00DD-4F3E-BCAB-F7A91C4F7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">
              <a:extLst>
                <a:ext uri="{FF2B5EF4-FFF2-40B4-BE49-F238E27FC236}">
                  <a16:creationId xmlns:a16="http://schemas.microsoft.com/office/drawing/2014/main" id="{9CF10D59-5107-4572-A2C6-CD5609554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Oval 81">
              <a:extLst>
                <a:ext uri="{FF2B5EF4-FFF2-40B4-BE49-F238E27FC236}">
                  <a16:creationId xmlns:a16="http://schemas.microsoft.com/office/drawing/2014/main" id="{F77DAC13-A94B-4B5F-A700-2A2FC575CF14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31E8D1BB-2202-4674-8D9B-AFAFF6CE93B4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146" name="Google Shape;349;p22">
              <a:extLst>
                <a:ext uri="{FF2B5EF4-FFF2-40B4-BE49-F238E27FC236}">
                  <a16:creationId xmlns:a16="http://schemas.microsoft.com/office/drawing/2014/main" id="{5820AAEB-94EC-4608-A0C5-ACDF264DA1A8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147" name="Picture 146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A2FD5612-AA57-4248-A79A-3C58BF34F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148" name="Groep 3">
            <a:extLst>
              <a:ext uri="{FF2B5EF4-FFF2-40B4-BE49-F238E27FC236}">
                <a16:creationId xmlns:a16="http://schemas.microsoft.com/office/drawing/2014/main" id="{C9E19902-170C-4A36-A782-0DC6076BF116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69487E15-9437-4A95-B00E-EDE0716D9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E354A393-D852-4DD3-A2A0-491A9E7A2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05F41DDA-856A-421D-834A-482DDA84E201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E68183DD-E711-4A1C-9BFF-D5FEA4A8C924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53" name="Oval 6">
              <a:extLst>
                <a:ext uri="{FF2B5EF4-FFF2-40B4-BE49-F238E27FC236}">
                  <a16:creationId xmlns:a16="http://schemas.microsoft.com/office/drawing/2014/main" id="{5FE327F6-4E38-4C00-AFE3-3BEA57FB7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C74EBA45-B327-4071-A7DC-D4B6DBF92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81">
              <a:extLst>
                <a:ext uri="{FF2B5EF4-FFF2-40B4-BE49-F238E27FC236}">
                  <a16:creationId xmlns:a16="http://schemas.microsoft.com/office/drawing/2014/main" id="{9CE6394E-6AD2-42E2-9B2A-7BF119589DD4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6" name="Groep 126">
            <a:extLst>
              <a:ext uri="{FF2B5EF4-FFF2-40B4-BE49-F238E27FC236}">
                <a16:creationId xmlns:a16="http://schemas.microsoft.com/office/drawing/2014/main" id="{7179335B-29B4-4D04-9284-C80335E45AC0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57" name="Oval 8">
              <a:extLst>
                <a:ext uri="{FF2B5EF4-FFF2-40B4-BE49-F238E27FC236}">
                  <a16:creationId xmlns:a16="http://schemas.microsoft.com/office/drawing/2014/main" id="{F69A7B53-FA3F-4B6C-8BCD-9D601B01D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1">
              <a:extLst>
                <a:ext uri="{FF2B5EF4-FFF2-40B4-BE49-F238E27FC236}">
                  <a16:creationId xmlns:a16="http://schemas.microsoft.com/office/drawing/2014/main" id="{76EA9305-4AA9-420E-BC6F-41CFA1D68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Oval 83">
              <a:extLst>
                <a:ext uri="{FF2B5EF4-FFF2-40B4-BE49-F238E27FC236}">
                  <a16:creationId xmlns:a16="http://schemas.microsoft.com/office/drawing/2014/main" id="{25992173-6604-4D7A-8CCF-9663CFF4060F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DD4E6FB3-304F-459A-B51B-A8EE8DCAC7C8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164" name="Picture 163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4F55E036-222E-4E32-8FE7-5EC8A2542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165" name="Google Shape;349;p22">
              <a:extLst>
                <a:ext uri="{FF2B5EF4-FFF2-40B4-BE49-F238E27FC236}">
                  <a16:creationId xmlns:a16="http://schemas.microsoft.com/office/drawing/2014/main" id="{DD108ACC-25C2-4A0A-B669-B9257C0065C7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D6F6A059-5F76-4ADC-9E0C-493EB2B451AE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FA12E87-E02D-4DE8-97E7-160AA5EBBC35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65FD3F-0675-4D16-BEB4-9160ACC9D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06787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C644013-3133-4533-B1B5-7EB5E962DB23}"/>
              </a:ext>
            </a:extLst>
          </p:cNvPr>
          <p:cNvSpPr/>
          <p:nvPr/>
        </p:nvSpPr>
        <p:spPr>
          <a:xfrm>
            <a:off x="5246810" y="3894184"/>
            <a:ext cx="6696328" cy="206895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D10E1E6D-E093-4C82-B131-DC0356E08320}"/>
              </a:ext>
            </a:extLst>
          </p:cNvPr>
          <p:cNvSpPr/>
          <p:nvPr/>
        </p:nvSpPr>
        <p:spPr>
          <a:xfrm>
            <a:off x="5341731" y="3990593"/>
            <a:ext cx="3968365" cy="187613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B39646-F538-4ED1-8EC8-A0A4C66FCA1F}"/>
              </a:ext>
            </a:extLst>
          </p:cNvPr>
          <p:cNvCxnSpPr>
            <a:cxnSpLocks/>
          </p:cNvCxnSpPr>
          <p:nvPr/>
        </p:nvCxnSpPr>
        <p:spPr>
          <a:xfrm>
            <a:off x="7760308" y="4116383"/>
            <a:ext cx="0" cy="1642522"/>
          </a:xfrm>
          <a:prstGeom prst="line">
            <a:avLst/>
          </a:prstGeom>
          <a:ln>
            <a:solidFill>
              <a:srgbClr val="E4282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FFA4AC-EF79-4B65-80DD-EB7F33E575D8}"/>
              </a:ext>
            </a:extLst>
          </p:cNvPr>
          <p:cNvGrpSpPr/>
          <p:nvPr/>
        </p:nvGrpSpPr>
        <p:grpSpPr>
          <a:xfrm>
            <a:off x="9725634" y="4625886"/>
            <a:ext cx="1904553" cy="733042"/>
            <a:chOff x="9725634" y="4625886"/>
            <a:chExt cx="1904553" cy="73304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/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[−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𝟑𝟔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𝟓𝟏</m:t>
                      </m:r>
                      <m:r>
                        <a:rPr lang="en-US" sz="2400" b="1" i="1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a14:m>
                  <a:r>
                    <a:rPr lang="en-US" sz="2400" b="1" dirty="0">
                      <a:solidFill>
                        <a:srgbClr val="40404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7" name="TextBox 34">
                  <a:extLst>
                    <a:ext uri="{FF2B5EF4-FFF2-40B4-BE49-F238E27FC236}">
                      <a16:creationId xmlns:a16="http://schemas.microsoft.com/office/drawing/2014/main" id="{0A1DDFE5-53E5-4F3F-86A7-76303FE07C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78638" y="4989596"/>
                  <a:ext cx="1295958" cy="369332"/>
                </a:xfrm>
                <a:prstGeom prst="rect">
                  <a:avLst/>
                </a:prstGeom>
                <a:blipFill>
                  <a:blip r:embed="rId3"/>
                  <a:stretch>
                    <a:fillRect l="-33333" r="-33333" b="-35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/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∈</m:t>
                        </m:r>
                      </m:oMath>
                    </m:oMathPara>
                  </a14:m>
                  <a:endParaRPr lang="en-US" sz="2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99" name="TextBox 34">
                  <a:extLst>
                    <a:ext uri="{FF2B5EF4-FFF2-40B4-BE49-F238E27FC236}">
                      <a16:creationId xmlns:a16="http://schemas.microsoft.com/office/drawing/2014/main" id="{16C48C32-72D9-48B5-B949-D8F21655C7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25634" y="4625886"/>
                  <a:ext cx="1904553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/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1" name="TextBox 34">
                <a:extLst>
                  <a:ext uri="{FF2B5EF4-FFF2-40B4-BE49-F238E27FC236}">
                    <a16:creationId xmlns:a16="http://schemas.microsoft.com/office/drawing/2014/main" id="{160594DE-85FD-49C6-801F-EDFFF700C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49042" y="4887285"/>
                <a:ext cx="327278" cy="430887"/>
              </a:xfrm>
              <a:prstGeom prst="rect">
                <a:avLst/>
              </a:prstGeom>
              <a:blipFill>
                <a:blip r:embed="rId5"/>
                <a:stretch>
                  <a:fillRect r="-925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3" name="Oval 252">
            <a:extLst>
              <a:ext uri="{FF2B5EF4-FFF2-40B4-BE49-F238E27FC236}">
                <a16:creationId xmlns:a16="http://schemas.microsoft.com/office/drawing/2014/main" id="{38025972-A8BE-436C-9075-901200E19512}"/>
              </a:ext>
            </a:extLst>
          </p:cNvPr>
          <p:cNvSpPr/>
          <p:nvPr/>
        </p:nvSpPr>
        <p:spPr>
          <a:xfrm rot="5400000">
            <a:off x="5914424" y="5096061"/>
            <a:ext cx="762782" cy="405946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77CC1FB7-8A3A-42C3-8959-2A0C44B6F1AD}"/>
              </a:ext>
            </a:extLst>
          </p:cNvPr>
          <p:cNvGrpSpPr/>
          <p:nvPr/>
        </p:nvGrpSpPr>
        <p:grpSpPr>
          <a:xfrm>
            <a:off x="9577706" y="1887401"/>
            <a:ext cx="1445387" cy="590336"/>
            <a:chOff x="8437823" y="832011"/>
            <a:chExt cx="1445387" cy="590336"/>
          </a:xfrm>
        </p:grpSpPr>
        <p:sp>
          <p:nvSpPr>
            <p:cNvPr id="285" name="Rectangle: Rounded Corners 284">
              <a:extLst>
                <a:ext uri="{FF2B5EF4-FFF2-40B4-BE49-F238E27FC236}">
                  <a16:creationId xmlns:a16="http://schemas.microsoft.com/office/drawing/2014/main" id="{2A27EA8F-DD5C-4ABB-87FA-C688D3222C62}"/>
                </a:ext>
              </a:extLst>
            </p:cNvPr>
            <p:cNvSpPr/>
            <p:nvPr/>
          </p:nvSpPr>
          <p:spPr>
            <a:xfrm>
              <a:off x="8437823" y="832011"/>
              <a:ext cx="1445387" cy="5903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CBFD4F30-C3E6-480B-8AAB-5EC250EB034C}"/>
                </a:ext>
              </a:extLst>
            </p:cNvPr>
            <p:cNvSpPr/>
            <p:nvPr/>
          </p:nvSpPr>
          <p:spPr>
            <a:xfrm>
              <a:off x="8471361" y="891491"/>
              <a:ext cx="1332775" cy="50563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/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𝝉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000" b="1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𝟖</m:t>
                        </m:r>
                      </m:oMath>
                    </m:oMathPara>
                  </a14:m>
                  <a:endPara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87" name="TextBox 34">
                  <a:extLst>
                    <a:ext uri="{FF2B5EF4-FFF2-40B4-BE49-F238E27FC236}">
                      <a16:creationId xmlns:a16="http://schemas.microsoft.com/office/drawing/2014/main" id="{85E9A36F-14D1-4A50-9F19-5D4AE405DAC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82404" y="992545"/>
                  <a:ext cx="1163892" cy="307777"/>
                </a:xfrm>
                <a:prstGeom prst="rect">
                  <a:avLst/>
                </a:prstGeom>
                <a:blipFill>
                  <a:blip r:embed="rId6"/>
                  <a:stretch>
                    <a:fillRect b="-6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88" name="Oval 287">
            <a:extLst>
              <a:ext uri="{FF2B5EF4-FFF2-40B4-BE49-F238E27FC236}">
                <a16:creationId xmlns:a16="http://schemas.microsoft.com/office/drawing/2014/main" id="{E576ADA1-3EC0-484D-832A-F6DF27790AA1}"/>
              </a:ext>
            </a:extLst>
          </p:cNvPr>
          <p:cNvSpPr/>
          <p:nvPr/>
        </p:nvSpPr>
        <p:spPr>
          <a:xfrm>
            <a:off x="7157485" y="1146871"/>
            <a:ext cx="497260" cy="497260"/>
          </a:xfrm>
          <a:prstGeom prst="ellipse">
            <a:avLst/>
          </a:prstGeom>
          <a:solidFill>
            <a:srgbClr val="C00000">
              <a:alpha val="10000"/>
            </a:srgbClr>
          </a:solidFill>
          <a:ln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rgbClr val="C81919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/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C81919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NL" sz="2400">
                  <a:solidFill>
                    <a:srgbClr val="C81919"/>
                  </a:solidFill>
                </a:endParaRPr>
              </a:p>
            </p:txBody>
          </p:sp>
        </mc:Choice>
        <mc:Fallback xmlns="">
          <p:sp>
            <p:nvSpPr>
              <p:cNvPr id="289" name="TextBox 288">
                <a:extLst>
                  <a:ext uri="{FF2B5EF4-FFF2-40B4-BE49-F238E27FC236}">
                    <a16:creationId xmlns:a16="http://schemas.microsoft.com/office/drawing/2014/main" id="{054E12E8-4839-4813-950F-B614CC4AB8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5878" y="1141916"/>
                <a:ext cx="354805" cy="461665"/>
              </a:xfrm>
              <a:prstGeom prst="rect">
                <a:avLst/>
              </a:prstGeom>
              <a:blipFill>
                <a:blip r:embed="rId7"/>
                <a:stretch>
                  <a:fillRect l="-5172" r="-29310" b="-131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 21">
            <a:extLst>
              <a:ext uri="{FF2B5EF4-FFF2-40B4-BE49-F238E27FC236}">
                <a16:creationId xmlns:a16="http://schemas.microsoft.com/office/drawing/2014/main" id="{C59F79C3-CD7A-474C-9742-E5A486ED38E4}"/>
              </a:ext>
            </a:extLst>
          </p:cNvPr>
          <p:cNvGrpSpPr/>
          <p:nvPr/>
        </p:nvGrpSpPr>
        <p:grpSpPr>
          <a:xfrm>
            <a:off x="6496579" y="1691736"/>
            <a:ext cx="497260" cy="502215"/>
            <a:chOff x="6496579" y="1691736"/>
            <a:chExt cx="497260" cy="502215"/>
          </a:xfrm>
        </p:grpSpPr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2E809076-0BBB-4D95-BF42-87B8FF496485}"/>
                </a:ext>
              </a:extLst>
            </p:cNvPr>
            <p:cNvSpPr/>
            <p:nvPr/>
          </p:nvSpPr>
          <p:spPr>
            <a:xfrm>
              <a:off x="6496579" y="1696691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/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accent4"/>
                    </a:solidFill>
                  </a:endParaRPr>
                </a:p>
              </p:txBody>
            </p:sp>
          </mc:Choice>
          <mc:Fallback xmlns=""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87C3DFAF-F1F6-4078-B679-FC063A04697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69401" y="1691736"/>
                  <a:ext cx="104652" cy="461665"/>
                </a:xfrm>
                <a:prstGeom prst="rect">
                  <a:avLst/>
                </a:prstGeom>
                <a:blipFill>
                  <a:blip r:embed="rId8"/>
                  <a:stretch>
                    <a:fillRect l="-52941" r="-294118" b="-1333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31EB8FC-C9FC-4325-9FB9-3922C8B37BE3}"/>
              </a:ext>
            </a:extLst>
          </p:cNvPr>
          <p:cNvGrpSpPr/>
          <p:nvPr/>
        </p:nvGrpSpPr>
        <p:grpSpPr>
          <a:xfrm>
            <a:off x="7855740" y="1682190"/>
            <a:ext cx="497260" cy="502215"/>
            <a:chOff x="7855740" y="1682190"/>
            <a:chExt cx="497260" cy="502215"/>
          </a:xfrm>
        </p:grpSpPr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F8B38C6B-2C7E-4D84-A9AD-47C7E62A9831}"/>
                </a:ext>
              </a:extLst>
            </p:cNvPr>
            <p:cNvSpPr/>
            <p:nvPr/>
          </p:nvSpPr>
          <p:spPr>
            <a:xfrm>
              <a:off x="7855740" y="1687145"/>
              <a:ext cx="497260" cy="49726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1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7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/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NL" sz="24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573B999-63E1-44C2-9264-7D4CB31308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16572" y="1682190"/>
                  <a:ext cx="77305" cy="461665"/>
                </a:xfrm>
                <a:prstGeom prst="rect">
                  <a:avLst/>
                </a:prstGeom>
                <a:blipFill>
                  <a:blip r:embed="rId9"/>
                  <a:stretch>
                    <a:fillRect l="-100000" r="-450000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EFA2FBD8-DE10-4FF5-B938-C3FFE4197D08}"/>
              </a:ext>
            </a:extLst>
          </p:cNvPr>
          <p:cNvCxnSpPr>
            <a:cxnSpLocks/>
            <a:stCxn id="288" idx="4"/>
            <a:endCxn id="291" idx="7"/>
          </p:cNvCxnSpPr>
          <p:nvPr/>
        </p:nvCxnSpPr>
        <p:spPr>
          <a:xfrm flipH="1">
            <a:off x="6921017" y="1644131"/>
            <a:ext cx="485098" cy="125382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DF9C9626-59F3-492B-8BFD-85391A717979}"/>
              </a:ext>
            </a:extLst>
          </p:cNvPr>
          <p:cNvCxnSpPr>
            <a:cxnSpLocks/>
            <a:stCxn id="288" idx="4"/>
            <a:endCxn id="294" idx="1"/>
          </p:cNvCxnSpPr>
          <p:nvPr/>
        </p:nvCxnSpPr>
        <p:spPr>
          <a:xfrm>
            <a:off x="7406115" y="1644131"/>
            <a:ext cx="522447" cy="11583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B0691EC-F04B-4F46-9445-D64FC3065FD3}"/>
              </a:ext>
            </a:extLst>
          </p:cNvPr>
          <p:cNvGrpSpPr/>
          <p:nvPr/>
        </p:nvGrpSpPr>
        <p:grpSpPr>
          <a:xfrm>
            <a:off x="6094862" y="2529478"/>
            <a:ext cx="402748" cy="461665"/>
            <a:chOff x="6094862" y="2529478"/>
            <a:chExt cx="402748" cy="461665"/>
          </a:xfrm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545829E-A4B2-45E7-AF1A-7175F74F1C86}"/>
                </a:ext>
              </a:extLst>
            </p:cNvPr>
            <p:cNvSpPr/>
            <p:nvPr/>
          </p:nvSpPr>
          <p:spPr>
            <a:xfrm>
              <a:off x="6094862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/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20EA4664-7216-438F-8AB6-A705D16426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6974" y="2529478"/>
                  <a:ext cx="84761" cy="461665"/>
                </a:xfrm>
                <a:prstGeom prst="rect">
                  <a:avLst/>
                </a:prstGeom>
                <a:blipFill>
                  <a:blip r:embed="rId10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FD528F32-131D-472C-AB6E-4B98B9537AD0}"/>
              </a:ext>
            </a:extLst>
          </p:cNvPr>
          <p:cNvCxnSpPr>
            <a:cxnSpLocks/>
            <a:stCxn id="291" idx="4"/>
            <a:endCxn id="299" idx="0"/>
          </p:cNvCxnSpPr>
          <p:nvPr/>
        </p:nvCxnSpPr>
        <p:spPr>
          <a:xfrm flipH="1">
            <a:off x="6296236" y="2193951"/>
            <a:ext cx="448973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4E613FD-6355-4F2D-8517-FBBDB0DEFBE6}"/>
              </a:ext>
            </a:extLst>
          </p:cNvPr>
          <p:cNvGrpSpPr/>
          <p:nvPr/>
        </p:nvGrpSpPr>
        <p:grpSpPr>
          <a:xfrm>
            <a:off x="6552903" y="2529478"/>
            <a:ext cx="402748" cy="461665"/>
            <a:chOff x="6552903" y="2529478"/>
            <a:chExt cx="402748" cy="461665"/>
          </a:xfrm>
        </p:grpSpPr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9FFEB97B-901A-4BE4-9844-91F88B6F1D36}"/>
                </a:ext>
              </a:extLst>
            </p:cNvPr>
            <p:cNvSpPr/>
            <p:nvPr/>
          </p:nvSpPr>
          <p:spPr>
            <a:xfrm>
              <a:off x="6552903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/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1C2316ED-12CF-4F1F-A7AE-BD8C808E49B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5015" y="2529478"/>
                  <a:ext cx="84761" cy="461665"/>
                </a:xfrm>
                <a:prstGeom prst="rect">
                  <a:avLst/>
                </a:prstGeom>
                <a:blipFill>
                  <a:blip r:embed="rId11"/>
                  <a:stretch>
                    <a:fillRect l="-71429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D60DCF87-C9E3-45CC-B126-6F8405A5FB56}"/>
              </a:ext>
            </a:extLst>
          </p:cNvPr>
          <p:cNvCxnSpPr>
            <a:cxnSpLocks/>
            <a:stCxn id="291" idx="4"/>
            <a:endCxn id="303" idx="0"/>
          </p:cNvCxnSpPr>
          <p:nvPr/>
        </p:nvCxnSpPr>
        <p:spPr>
          <a:xfrm>
            <a:off x="6745209" y="2193951"/>
            <a:ext cx="9068" cy="382301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FB1D20E-A0F2-4434-AF12-0CBDF3E7F324}"/>
              </a:ext>
            </a:extLst>
          </p:cNvPr>
          <p:cNvGrpSpPr/>
          <p:nvPr/>
        </p:nvGrpSpPr>
        <p:grpSpPr>
          <a:xfrm>
            <a:off x="7013056" y="2529477"/>
            <a:ext cx="402748" cy="461665"/>
            <a:chOff x="7013056" y="2529477"/>
            <a:chExt cx="402748" cy="461665"/>
          </a:xfrm>
        </p:grpSpPr>
        <p:sp>
          <p:nvSpPr>
            <p:cNvPr id="307" name="Oval 306">
              <a:extLst>
                <a:ext uri="{FF2B5EF4-FFF2-40B4-BE49-F238E27FC236}">
                  <a16:creationId xmlns:a16="http://schemas.microsoft.com/office/drawing/2014/main" id="{B8D9AACD-CABD-4DC5-A6F9-9982A9636406}"/>
                </a:ext>
              </a:extLst>
            </p:cNvPr>
            <p:cNvSpPr/>
            <p:nvPr/>
          </p:nvSpPr>
          <p:spPr>
            <a:xfrm>
              <a:off x="7013056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/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178DA165-2F3E-46D6-ADD9-253CFA31395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15168" y="2529477"/>
                  <a:ext cx="84761" cy="461665"/>
                </a:xfrm>
                <a:prstGeom prst="rect">
                  <a:avLst/>
                </a:prstGeom>
                <a:blipFill>
                  <a:blip r:embed="rId12"/>
                  <a:stretch>
                    <a:fillRect l="-78571" r="-378571" b="-131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8C3242E9-9683-48A3-A0E3-5143F3347A17}"/>
              </a:ext>
            </a:extLst>
          </p:cNvPr>
          <p:cNvCxnSpPr>
            <a:cxnSpLocks/>
            <a:stCxn id="291" idx="4"/>
            <a:endCxn id="307" idx="0"/>
          </p:cNvCxnSpPr>
          <p:nvPr/>
        </p:nvCxnSpPr>
        <p:spPr>
          <a:xfrm>
            <a:off x="6745209" y="2193951"/>
            <a:ext cx="469221" cy="3823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5B0E8CF-1254-47E5-B241-D05A39F90599}"/>
              </a:ext>
            </a:extLst>
          </p:cNvPr>
          <p:cNvGrpSpPr/>
          <p:nvPr/>
        </p:nvGrpSpPr>
        <p:grpSpPr>
          <a:xfrm>
            <a:off x="7654745" y="2529478"/>
            <a:ext cx="402748" cy="461665"/>
            <a:chOff x="7654745" y="2529478"/>
            <a:chExt cx="402748" cy="46166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420D30F6-27AF-4610-8D3D-424705E961DC}"/>
                </a:ext>
              </a:extLst>
            </p:cNvPr>
            <p:cNvSpPr/>
            <p:nvPr/>
          </p:nvSpPr>
          <p:spPr>
            <a:xfrm>
              <a:off x="7654745" y="2576252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/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B74534F-BA47-4714-BA9B-7DE7B6A900B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56857" y="2529478"/>
                  <a:ext cx="84761" cy="461665"/>
                </a:xfrm>
                <a:prstGeom prst="rect">
                  <a:avLst/>
                </a:prstGeom>
                <a:blipFill>
                  <a:blip r:embed="rId13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D2337F-86C1-41D8-9D7B-FF241714A6F2}"/>
              </a:ext>
            </a:extLst>
          </p:cNvPr>
          <p:cNvGrpSpPr/>
          <p:nvPr/>
        </p:nvGrpSpPr>
        <p:grpSpPr>
          <a:xfrm>
            <a:off x="8171994" y="2529477"/>
            <a:ext cx="402748" cy="461665"/>
            <a:chOff x="8171994" y="2529477"/>
            <a:chExt cx="402748" cy="461665"/>
          </a:xfrm>
        </p:grpSpPr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98FCF211-2A98-41DA-921C-838D50100646}"/>
                </a:ext>
              </a:extLst>
            </p:cNvPr>
            <p:cNvSpPr/>
            <p:nvPr/>
          </p:nvSpPr>
          <p:spPr>
            <a:xfrm>
              <a:off x="8171994" y="2576251"/>
              <a:ext cx="402748" cy="402747"/>
            </a:xfrm>
            <a:prstGeom prst="ellipse">
              <a:avLst/>
            </a:prstGeom>
            <a:solidFill>
              <a:schemeClr val="bg1">
                <a:lumMod val="85000"/>
                <a:alpha val="1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>
                <a:solidFill>
                  <a:schemeClr val="bg1">
                    <a:lumMod val="65000"/>
                  </a:schemeClr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/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2400" b="0" i="1" smtClean="0">
                                <a:solidFill>
                                  <a:schemeClr val="bg1">
                                    <a:lumMod val="6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</m:sSub>
                      </m:oMath>
                    </m:oMathPara>
                  </a14:m>
                  <a:endParaRPr lang="en-NL" sz="240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20893F66-62E8-423B-B85C-7CE5CA55A76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74106" y="2529477"/>
                  <a:ext cx="84761" cy="461665"/>
                </a:xfrm>
                <a:prstGeom prst="rect">
                  <a:avLst/>
                </a:prstGeom>
                <a:blipFill>
                  <a:blip r:embed="rId14"/>
                  <a:stretch>
                    <a:fillRect l="-78571" r="-378571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926035D-7A40-4EC5-82C5-6B6EA9A76CEE}"/>
              </a:ext>
            </a:extLst>
          </p:cNvPr>
          <p:cNvCxnSpPr>
            <a:cxnSpLocks/>
            <a:stCxn id="294" idx="4"/>
            <a:endCxn id="311" idx="0"/>
          </p:cNvCxnSpPr>
          <p:nvPr/>
        </p:nvCxnSpPr>
        <p:spPr>
          <a:xfrm flipH="1">
            <a:off x="7856119" y="2184405"/>
            <a:ext cx="248251" cy="391847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F8179EE-8275-49DE-8B58-003B0C3CEA08}"/>
              </a:ext>
            </a:extLst>
          </p:cNvPr>
          <p:cNvCxnSpPr>
            <a:cxnSpLocks/>
            <a:stCxn id="294" idx="4"/>
            <a:endCxn id="314" idx="0"/>
          </p:cNvCxnSpPr>
          <p:nvPr/>
        </p:nvCxnSpPr>
        <p:spPr>
          <a:xfrm>
            <a:off x="8104370" y="2184405"/>
            <a:ext cx="268998" cy="391846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Oval 318">
            <a:extLst>
              <a:ext uri="{FF2B5EF4-FFF2-40B4-BE49-F238E27FC236}">
                <a16:creationId xmlns:a16="http://schemas.microsoft.com/office/drawing/2014/main" id="{D5D19EF6-A5B4-42DE-A1EE-F73710B94A41}"/>
              </a:ext>
            </a:extLst>
          </p:cNvPr>
          <p:cNvSpPr/>
          <p:nvPr/>
        </p:nvSpPr>
        <p:spPr>
          <a:xfrm>
            <a:off x="607708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2493A2A4-0120-4C33-B3FC-17C87F722BCA}"/>
              </a:ext>
            </a:extLst>
          </p:cNvPr>
          <p:cNvSpPr/>
          <p:nvPr/>
        </p:nvSpPr>
        <p:spPr>
          <a:xfrm>
            <a:off x="623390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685A8B12-DB0B-4EC4-94B2-0833EA8514FD}"/>
              </a:ext>
            </a:extLst>
          </p:cNvPr>
          <p:cNvSpPr/>
          <p:nvPr/>
        </p:nvSpPr>
        <p:spPr>
          <a:xfrm>
            <a:off x="639071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467685DC-74B7-44F3-8ECF-07E53B472CA5}"/>
              </a:ext>
            </a:extLst>
          </p:cNvPr>
          <p:cNvCxnSpPr>
            <a:cxnSpLocks/>
            <a:stCxn id="299" idx="4"/>
            <a:endCxn id="319" idx="0"/>
          </p:cNvCxnSpPr>
          <p:nvPr/>
        </p:nvCxnSpPr>
        <p:spPr>
          <a:xfrm flipH="1">
            <a:off x="6129409" y="2978999"/>
            <a:ext cx="166827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A8D0B090-6EFE-4AA6-AC74-E57D90E9716A}"/>
              </a:ext>
            </a:extLst>
          </p:cNvPr>
          <p:cNvCxnSpPr>
            <a:cxnSpLocks/>
            <a:stCxn id="299" idx="4"/>
            <a:endCxn id="320" idx="0"/>
          </p:cNvCxnSpPr>
          <p:nvPr/>
        </p:nvCxnSpPr>
        <p:spPr>
          <a:xfrm flipH="1">
            <a:off x="6286227" y="2978999"/>
            <a:ext cx="100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E6C72A00-B5AF-4FF8-8F4B-63F8260AD902}"/>
              </a:ext>
            </a:extLst>
          </p:cNvPr>
          <p:cNvCxnSpPr>
            <a:cxnSpLocks/>
            <a:stCxn id="299" idx="4"/>
            <a:endCxn id="321" idx="0"/>
          </p:cNvCxnSpPr>
          <p:nvPr/>
        </p:nvCxnSpPr>
        <p:spPr>
          <a:xfrm>
            <a:off x="6296236" y="2978999"/>
            <a:ext cx="146809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AB209A7C-DE4A-4F84-8929-AB289B867705}"/>
              </a:ext>
            </a:extLst>
          </p:cNvPr>
          <p:cNvSpPr/>
          <p:nvPr/>
        </p:nvSpPr>
        <p:spPr>
          <a:xfrm>
            <a:off x="653736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3697E4DB-BE12-44C8-85C0-DE0622672116}"/>
              </a:ext>
            </a:extLst>
          </p:cNvPr>
          <p:cNvSpPr/>
          <p:nvPr/>
        </p:nvSpPr>
        <p:spPr>
          <a:xfrm>
            <a:off x="669418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690F6BF2-2349-4E2E-A35D-DF007BD65A89}"/>
              </a:ext>
            </a:extLst>
          </p:cNvPr>
          <p:cNvSpPr/>
          <p:nvPr/>
        </p:nvSpPr>
        <p:spPr>
          <a:xfrm>
            <a:off x="685099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EEFF8A3B-766F-470A-A6D5-52311A4A0150}"/>
              </a:ext>
            </a:extLst>
          </p:cNvPr>
          <p:cNvCxnSpPr>
            <a:cxnSpLocks/>
            <a:stCxn id="303" idx="4"/>
            <a:endCxn id="325" idx="0"/>
          </p:cNvCxnSpPr>
          <p:nvPr/>
        </p:nvCxnSpPr>
        <p:spPr>
          <a:xfrm flipH="1">
            <a:off x="6589689" y="2978999"/>
            <a:ext cx="16458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8BF12D7B-FB30-42A0-A2E0-FE5C9B5BD0E9}"/>
              </a:ext>
            </a:extLst>
          </p:cNvPr>
          <p:cNvCxnSpPr>
            <a:cxnSpLocks/>
            <a:stCxn id="303" idx="4"/>
            <a:endCxn id="326" idx="0"/>
          </p:cNvCxnSpPr>
          <p:nvPr/>
        </p:nvCxnSpPr>
        <p:spPr>
          <a:xfrm flipH="1">
            <a:off x="6746507" y="2978999"/>
            <a:ext cx="7770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63D4B380-FC25-43C9-8D52-EEEEF53B54E4}"/>
              </a:ext>
            </a:extLst>
          </p:cNvPr>
          <p:cNvCxnSpPr>
            <a:cxnSpLocks/>
            <a:stCxn id="303" idx="4"/>
            <a:endCxn id="327" idx="0"/>
          </p:cNvCxnSpPr>
          <p:nvPr/>
        </p:nvCxnSpPr>
        <p:spPr>
          <a:xfrm>
            <a:off x="6754277" y="2978999"/>
            <a:ext cx="149048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Oval 330">
            <a:extLst>
              <a:ext uri="{FF2B5EF4-FFF2-40B4-BE49-F238E27FC236}">
                <a16:creationId xmlns:a16="http://schemas.microsoft.com/office/drawing/2014/main" id="{84161497-4F8E-4EA0-AB0A-594BA5A4B89E}"/>
              </a:ext>
            </a:extLst>
          </p:cNvPr>
          <p:cNvSpPr/>
          <p:nvPr/>
        </p:nvSpPr>
        <p:spPr>
          <a:xfrm>
            <a:off x="6986643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B0D72550-C17A-40B2-9995-676831475385}"/>
              </a:ext>
            </a:extLst>
          </p:cNvPr>
          <p:cNvSpPr/>
          <p:nvPr/>
        </p:nvSpPr>
        <p:spPr>
          <a:xfrm>
            <a:off x="7143461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278CCE78-483E-4374-AC73-8F4FBD580653}"/>
              </a:ext>
            </a:extLst>
          </p:cNvPr>
          <p:cNvSpPr/>
          <p:nvPr/>
        </p:nvSpPr>
        <p:spPr>
          <a:xfrm>
            <a:off x="73002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135366F7-EAC7-46D0-9282-71B180D5EF6B}"/>
              </a:ext>
            </a:extLst>
          </p:cNvPr>
          <p:cNvCxnSpPr>
            <a:cxnSpLocks/>
            <a:stCxn id="307" idx="4"/>
            <a:endCxn id="331" idx="0"/>
          </p:cNvCxnSpPr>
          <p:nvPr/>
        </p:nvCxnSpPr>
        <p:spPr>
          <a:xfrm flipH="1">
            <a:off x="7038969" y="2978998"/>
            <a:ext cx="175461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30F0EA12-8969-4720-8CC6-F277E2C8EA96}"/>
              </a:ext>
            </a:extLst>
          </p:cNvPr>
          <p:cNvCxnSpPr>
            <a:cxnSpLocks/>
            <a:stCxn id="307" idx="4"/>
            <a:endCxn id="332" idx="0"/>
          </p:cNvCxnSpPr>
          <p:nvPr/>
        </p:nvCxnSpPr>
        <p:spPr>
          <a:xfrm flipH="1">
            <a:off x="7195787" y="2978998"/>
            <a:ext cx="1864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7FA4C24F-DE16-4A39-9223-A1C77484B2BD}"/>
              </a:ext>
            </a:extLst>
          </p:cNvPr>
          <p:cNvCxnSpPr>
            <a:cxnSpLocks/>
            <a:stCxn id="307" idx="4"/>
            <a:endCxn id="333" idx="0"/>
          </p:cNvCxnSpPr>
          <p:nvPr/>
        </p:nvCxnSpPr>
        <p:spPr>
          <a:xfrm>
            <a:off x="7214430" y="2978998"/>
            <a:ext cx="1381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Oval 336">
            <a:extLst>
              <a:ext uri="{FF2B5EF4-FFF2-40B4-BE49-F238E27FC236}">
                <a16:creationId xmlns:a16="http://schemas.microsoft.com/office/drawing/2014/main" id="{8BD0E80B-07D5-40EC-B830-41F843DDF01B}"/>
              </a:ext>
            </a:extLst>
          </p:cNvPr>
          <p:cNvSpPr/>
          <p:nvPr/>
        </p:nvSpPr>
        <p:spPr>
          <a:xfrm>
            <a:off x="74526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F896C98C-12A6-4BCA-8E95-F4DB31B392A9}"/>
              </a:ext>
            </a:extLst>
          </p:cNvPr>
          <p:cNvCxnSpPr>
            <a:cxnSpLocks/>
            <a:stCxn id="307" idx="4"/>
            <a:endCxn id="337" idx="0"/>
          </p:cNvCxnSpPr>
          <p:nvPr/>
        </p:nvCxnSpPr>
        <p:spPr>
          <a:xfrm>
            <a:off x="7214430" y="2978998"/>
            <a:ext cx="290575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Oval 338">
            <a:extLst>
              <a:ext uri="{FF2B5EF4-FFF2-40B4-BE49-F238E27FC236}">
                <a16:creationId xmlns:a16="http://schemas.microsoft.com/office/drawing/2014/main" id="{E7538064-10BA-4C1D-93F3-09AAFBC7A144}"/>
              </a:ext>
            </a:extLst>
          </p:cNvPr>
          <p:cNvSpPr/>
          <p:nvPr/>
        </p:nvSpPr>
        <p:spPr>
          <a:xfrm>
            <a:off x="7800742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1969DE9A-F4D2-4D3F-92F2-240A10A802DA}"/>
              </a:ext>
            </a:extLst>
          </p:cNvPr>
          <p:cNvSpPr/>
          <p:nvPr/>
        </p:nvSpPr>
        <p:spPr>
          <a:xfrm>
            <a:off x="8248879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C182AB16-5D16-4DF8-BC80-35AD1648F479}"/>
              </a:ext>
            </a:extLst>
          </p:cNvPr>
          <p:cNvSpPr/>
          <p:nvPr/>
        </p:nvSpPr>
        <p:spPr>
          <a:xfrm>
            <a:off x="8443300" y="3269678"/>
            <a:ext cx="104652" cy="10465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BE1F0EF0-052C-440A-B582-7F523B8B842F}"/>
              </a:ext>
            </a:extLst>
          </p:cNvPr>
          <p:cNvCxnSpPr>
            <a:cxnSpLocks/>
            <a:stCxn id="311" idx="4"/>
            <a:endCxn id="339" idx="0"/>
          </p:cNvCxnSpPr>
          <p:nvPr/>
        </p:nvCxnSpPr>
        <p:spPr>
          <a:xfrm flipH="1">
            <a:off x="7853068" y="2978999"/>
            <a:ext cx="3051" cy="290679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CEAFEE96-2ABF-4263-AE6D-152F4B0ABFAE}"/>
              </a:ext>
            </a:extLst>
          </p:cNvPr>
          <p:cNvCxnSpPr>
            <a:cxnSpLocks/>
            <a:stCxn id="314" idx="4"/>
            <a:endCxn id="340" idx="0"/>
          </p:cNvCxnSpPr>
          <p:nvPr/>
        </p:nvCxnSpPr>
        <p:spPr>
          <a:xfrm flipH="1">
            <a:off x="8301205" y="2978998"/>
            <a:ext cx="72163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34AD5BEA-7209-46B0-9128-AC5496A4CBCD}"/>
              </a:ext>
            </a:extLst>
          </p:cNvPr>
          <p:cNvCxnSpPr>
            <a:cxnSpLocks/>
            <a:stCxn id="314" idx="4"/>
            <a:endCxn id="341" idx="0"/>
          </p:cNvCxnSpPr>
          <p:nvPr/>
        </p:nvCxnSpPr>
        <p:spPr>
          <a:xfrm>
            <a:off x="8373368" y="2978998"/>
            <a:ext cx="122258" cy="290680"/>
          </a:xfrm>
          <a:prstGeom prst="line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12D8E8BF-25A2-4D7B-855D-756630704B5F}"/>
              </a:ext>
            </a:extLst>
          </p:cNvPr>
          <p:cNvGrpSpPr/>
          <p:nvPr/>
        </p:nvGrpSpPr>
        <p:grpSpPr>
          <a:xfrm>
            <a:off x="6870823" y="4205922"/>
            <a:ext cx="587721" cy="576603"/>
            <a:chOff x="6870823" y="4205922"/>
            <a:chExt cx="587721" cy="576603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DAF9B809-BE53-45B0-9644-E5DB9C74B6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91329" y="42150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35ABEFFF-35AB-441F-B607-263AB242E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48186" y="42268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AAA02A04-C7CF-432E-A725-BF8AAA0B08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3673" y="420592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E3CEE8F0-14FD-42BE-8583-C43E31DE0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375" y="436024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768E40A0-55F4-4CA3-A09F-7F33BEEC0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823" y="444658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668302E8-DA5E-4B65-8831-1619433B6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1542" y="431371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39EB903-4354-4BD5-B10A-5583FE963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04544" y="460172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5BD84D6-A962-44C9-BD2F-1C6E7CCE6D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4371" y="427038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58792138-6A6C-45C5-A707-0648116ECF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6336" y="466454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189991A3-ECAE-4FEE-A7B7-5B864D664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99385" y="460324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FD6F6C7D-39A0-4F93-9B77-ADD384AC4E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19507" y="47285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97A59C35-CB56-425A-991C-03C25FDDBD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78480" y="470636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44343F26-DDAF-4E59-8539-D27F897CC2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19388" y="471118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6C119AA-0689-43A4-AFD0-912EDC00A50A}"/>
              </a:ext>
            </a:extLst>
          </p:cNvPr>
          <p:cNvGrpSpPr/>
          <p:nvPr/>
        </p:nvGrpSpPr>
        <p:grpSpPr>
          <a:xfrm>
            <a:off x="6105062" y="4999062"/>
            <a:ext cx="587721" cy="576603"/>
            <a:chOff x="6105062" y="4999062"/>
            <a:chExt cx="587721" cy="576603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5FBED0B6-D556-49C1-AA90-7EAE95077B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5568" y="500820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497A3CC-184A-4D61-B328-AEAF162D8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2425" y="50199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2DD219C-6977-4F1E-A665-4133B722A7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7912" y="499906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7EE47ED1-29B7-4F82-977F-584A143D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0614" y="515338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94ADF4A3-4456-4534-93AE-EE95D831A3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05062" y="52397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06" name="Oval 305">
              <a:extLst>
                <a:ext uri="{FF2B5EF4-FFF2-40B4-BE49-F238E27FC236}">
                  <a16:creationId xmlns:a16="http://schemas.microsoft.com/office/drawing/2014/main" id="{7E9F0172-3519-4105-827C-8182038946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65781" y="510685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B2AC8189-F8A1-4D2D-B87F-DC0F5C6FEA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38783" y="539486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8F9CF88-703E-41DE-AC9F-CA53B81960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8610" y="506352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821C2729-E97C-44D2-A09B-33042FF14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70575" y="545768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8104E24F-A784-4E9E-AB7E-A7447FA11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3624" y="539638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5315EF92-7152-4C02-85CE-455D8D31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3746" y="552166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178DBC9C-4B01-4174-971B-B9CACADC93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12719" y="549950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5C4795A8-46AA-41D7-9BFB-08C776271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53627" y="550432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1D9C596F-6E62-4FCF-B5BD-374BFFEB6E5C}"/>
              </a:ext>
            </a:extLst>
          </p:cNvPr>
          <p:cNvGrpSpPr/>
          <p:nvPr/>
        </p:nvGrpSpPr>
        <p:grpSpPr>
          <a:xfrm>
            <a:off x="8439464" y="4722532"/>
            <a:ext cx="587721" cy="576603"/>
            <a:chOff x="8439464" y="4722532"/>
            <a:chExt cx="587721" cy="57660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D17AC6E-5885-4083-B4D1-68224A3A5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59970" y="473167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531FD25B-2E15-4CDD-BD25-458CE7D26C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16827" y="47434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3324DA53-1992-4748-B4A4-A30B788C48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02314" y="4722532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AA36A2C-36D6-461A-8034-6183F32301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5016" y="487685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FE5B474C-B486-4AD2-9175-EC52B185F8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39464" y="496319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AF7CD8E6-D56E-423E-9A09-456059055E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0183" y="483032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DC09F86-AE8F-4EBE-A216-77F3A34C1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3185" y="5118337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480FC74E-5E6C-4473-B4EE-24F3E15089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3012" y="4786999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71005A5C-46D7-462E-BB27-B414E3E86E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04977" y="5181154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8046F809-2267-43F9-BDD5-A91EB67CA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68026" y="5119856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BACFBA9E-3879-44DC-8F20-9DD1AF80A1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88148" y="5245135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9EFA49D2-E7E4-4FB8-9D42-DD6A9ADB4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47121" y="5222971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840581B-CB8F-42DC-85BC-543FF3C61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88029" y="5227790"/>
              <a:ext cx="54000" cy="5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2800"/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5D9987FE-A2C5-4937-961B-C9C55F7FA561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33DE4F2-4C83-44A9-8D87-C36344DEDB17}"/>
              </a:ext>
            </a:extLst>
          </p:cNvPr>
          <p:cNvSpPr txBox="1"/>
          <p:nvPr/>
        </p:nvSpPr>
        <p:spPr>
          <a:xfrm>
            <a:off x="874713" y="1074167"/>
            <a:ext cx="119423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lgorithm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A1968931-B139-45C2-8F65-C0A013128686}"/>
              </a:ext>
            </a:extLst>
          </p:cNvPr>
          <p:cNvGrpSpPr/>
          <p:nvPr/>
        </p:nvGrpSpPr>
        <p:grpSpPr>
          <a:xfrm>
            <a:off x="638750" y="1963083"/>
            <a:ext cx="5008109" cy="3560549"/>
            <a:chOff x="1182002" y="1963083"/>
            <a:chExt cx="5008109" cy="3560549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92C487B4-F041-4FD1-8B41-7A429FD219CE}"/>
                </a:ext>
              </a:extLst>
            </p:cNvPr>
            <p:cNvSpPr/>
            <p:nvPr/>
          </p:nvSpPr>
          <p:spPr>
            <a:xfrm>
              <a:off x="1412514" y="1963083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48" name="TextBox 139">
              <a:extLst>
                <a:ext uri="{FF2B5EF4-FFF2-40B4-BE49-F238E27FC236}">
                  <a16:creationId xmlns:a16="http://schemas.microsoft.com/office/drawing/2014/main" id="{8009E10E-0E6C-4473-A11A-813401E37BF2}"/>
                </a:ext>
              </a:extLst>
            </p:cNvPr>
            <p:cNvSpPr txBox="1"/>
            <p:nvPr/>
          </p:nvSpPr>
          <p:spPr>
            <a:xfrm>
              <a:off x="1182002" y="2020053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52C9AC1F-65B4-4EE7-BD0A-7032E4AC2EA1}"/>
                </a:ext>
              </a:extLst>
            </p:cNvPr>
            <p:cNvSpPr txBox="1"/>
            <p:nvPr/>
          </p:nvSpPr>
          <p:spPr>
            <a:xfrm>
              <a:off x="1943386" y="2203305"/>
              <a:ext cx="41397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-normalization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lize all points</a:t>
              </a:r>
              <a:endPara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1CE37BA4-A5F6-4C76-BCFE-B581DC4C922E}"/>
                </a:ext>
              </a:extLst>
            </p:cNvPr>
            <p:cNvSpPr/>
            <p:nvPr/>
          </p:nvSpPr>
          <p:spPr>
            <a:xfrm>
              <a:off x="1412514" y="3317360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1" name="TextBox 139">
              <a:extLst>
                <a:ext uri="{FF2B5EF4-FFF2-40B4-BE49-F238E27FC236}">
                  <a16:creationId xmlns:a16="http://schemas.microsoft.com/office/drawing/2014/main" id="{9E491F61-D2B8-41FB-8047-AA5348C83D71}"/>
                </a:ext>
              </a:extLst>
            </p:cNvPr>
            <p:cNvSpPr txBox="1"/>
            <p:nvPr/>
          </p:nvSpPr>
          <p:spPr>
            <a:xfrm>
              <a:off x="1182002" y="3374330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152" name="TextBox 34">
              <a:extLst>
                <a:ext uri="{FF2B5EF4-FFF2-40B4-BE49-F238E27FC236}">
                  <a16:creationId xmlns:a16="http://schemas.microsoft.com/office/drawing/2014/main" id="{96B8FDB1-AEAD-43F5-AF2F-D365F9757109}"/>
                </a:ext>
              </a:extLst>
            </p:cNvPr>
            <p:cNvSpPr txBox="1"/>
            <p:nvPr/>
          </p:nvSpPr>
          <p:spPr>
            <a:xfrm>
              <a:off x="1943386" y="3558994"/>
              <a:ext cx="395579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erarchical Clustering –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-means++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9685061A-4761-4A4E-9D9C-8CF5D95BC33E}"/>
                </a:ext>
              </a:extLst>
            </p:cNvPr>
            <p:cNvSpPr/>
            <p:nvPr/>
          </p:nvSpPr>
          <p:spPr>
            <a:xfrm>
              <a:off x="1412514" y="4671637"/>
              <a:ext cx="760271" cy="760269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4" name="TextBox 139">
              <a:extLst>
                <a:ext uri="{FF2B5EF4-FFF2-40B4-BE49-F238E27FC236}">
                  <a16:creationId xmlns:a16="http://schemas.microsoft.com/office/drawing/2014/main" id="{CBC0FE6A-8C77-4DF1-9AF2-822CB8558BF4}"/>
                </a:ext>
              </a:extLst>
            </p:cNvPr>
            <p:cNvSpPr txBox="1"/>
            <p:nvPr/>
          </p:nvSpPr>
          <p:spPr>
            <a:xfrm>
              <a:off x="1182002" y="4728607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155" name="TextBox 34">
              <a:extLst>
                <a:ext uri="{FF2B5EF4-FFF2-40B4-BE49-F238E27FC236}">
                  <a16:creationId xmlns:a16="http://schemas.microsoft.com/office/drawing/2014/main" id="{FD349C8C-76EE-4209-B3EC-10B7DA00A5CA}"/>
                </a:ext>
              </a:extLst>
            </p:cNvPr>
            <p:cNvSpPr txBox="1"/>
            <p:nvPr/>
          </p:nvSpPr>
          <p:spPr>
            <a:xfrm>
              <a:off x="1943386" y="4600302"/>
              <a:ext cx="4246725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cursive Bounding –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und </a:t>
              </a:r>
            </a:p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of </a:t>
              </a:r>
              <a:r>
                <a:rPr lang="en-US" sz="2000" u="sng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uster combinations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d on cluster radii and centroid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56" name="Diamond 155">
            <a:extLst>
              <a:ext uri="{FF2B5EF4-FFF2-40B4-BE49-F238E27FC236}">
                <a16:creationId xmlns:a16="http://schemas.microsoft.com/office/drawing/2014/main" id="{8D4CE716-1AFA-4E37-81F3-799F2871AF43}"/>
              </a:ext>
            </a:extLst>
          </p:cNvPr>
          <p:cNvSpPr/>
          <p:nvPr/>
        </p:nvSpPr>
        <p:spPr>
          <a:xfrm>
            <a:off x="348800" y="4938856"/>
            <a:ext cx="246221" cy="246221"/>
          </a:xfrm>
          <a:prstGeom prst="diamond">
            <a:avLst/>
          </a:prstGeom>
          <a:gradFill flip="none" rotWithShape="1">
            <a:gsLst>
              <a:gs pos="0">
                <a:srgbClr val="ED7373"/>
              </a:gs>
              <a:gs pos="83000">
                <a:srgbClr val="E42828"/>
              </a:gs>
              <a:gs pos="100000">
                <a:srgbClr val="C00000"/>
              </a:gs>
            </a:gsLst>
            <a:lin ang="0" scaled="1"/>
            <a:tileRect/>
          </a:gra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79DC5-590E-4A75-A77B-B9A67684F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0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/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𝝆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𝑺𝒖𝒎</m:t>
                          </m:r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en-US" sz="24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),</m:t>
                          </m:r>
                          <m:sSub>
                            <m:sSubPr>
                              <m:ctrlP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𝑪</m:t>
                              </m:r>
                            </m:e>
                            <m:sub>
                              <m:r>
                                <a:rPr lang="en-US" sz="2400" b="1" i="1" smtClean="0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br>
                  <a:rPr 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6" name="TextBox 34">
                <a:extLst>
                  <a:ext uri="{FF2B5EF4-FFF2-40B4-BE49-F238E27FC236}">
                    <a16:creationId xmlns:a16="http://schemas.microsoft.com/office/drawing/2014/main" id="{86755543-9A46-4DFE-8109-430E0FFFBF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32" y="4254748"/>
                <a:ext cx="1904553" cy="369397"/>
              </a:xfrm>
              <a:prstGeom prst="rect">
                <a:avLst/>
              </a:prstGeom>
              <a:blipFill>
                <a:blip r:embed="rId15"/>
                <a:stretch>
                  <a:fillRect l="-25641" r="-14744" b="-3278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/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8" name="TextBox 34">
                <a:extLst>
                  <a:ext uri="{FF2B5EF4-FFF2-40B4-BE49-F238E27FC236}">
                    <a16:creationId xmlns:a16="http://schemas.microsoft.com/office/drawing/2014/main" id="{3FFF4C61-1751-43A1-ABC9-3459485A29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4803" y="4094145"/>
                <a:ext cx="327278" cy="430887"/>
              </a:xfrm>
              <a:prstGeom prst="rect">
                <a:avLst/>
              </a:prstGeom>
              <a:blipFill>
                <a:blip r:embed="rId16"/>
                <a:stretch>
                  <a:fillRect r="-740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9" name="Oval 138">
            <a:extLst>
              <a:ext uri="{FF2B5EF4-FFF2-40B4-BE49-F238E27FC236}">
                <a16:creationId xmlns:a16="http://schemas.microsoft.com/office/drawing/2014/main" id="{46DCEE41-0DCD-40A6-87E1-DCEA93C20068}"/>
              </a:ext>
            </a:extLst>
          </p:cNvPr>
          <p:cNvSpPr/>
          <p:nvPr/>
        </p:nvSpPr>
        <p:spPr>
          <a:xfrm rot="5400000">
            <a:off x="7055639" y="4391528"/>
            <a:ext cx="624401" cy="25319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/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28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35" name="TextBox 34">
                <a:extLst>
                  <a:ext uri="{FF2B5EF4-FFF2-40B4-BE49-F238E27FC236}">
                    <a16:creationId xmlns:a16="http://schemas.microsoft.com/office/drawing/2014/main" id="{A4BB0662-1F76-4D9B-9798-24D325C12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5012" y="4605446"/>
                <a:ext cx="327278" cy="430887"/>
              </a:xfrm>
              <a:prstGeom prst="rect">
                <a:avLst/>
              </a:prstGeom>
              <a:blipFill>
                <a:blip r:embed="rId17"/>
                <a:stretch>
                  <a:fillRect r="-943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7" name="Oval 136">
            <a:extLst>
              <a:ext uri="{FF2B5EF4-FFF2-40B4-BE49-F238E27FC236}">
                <a16:creationId xmlns:a16="http://schemas.microsoft.com/office/drawing/2014/main" id="{25A7AA69-95A6-4EA6-8CB4-9057CF144500}"/>
              </a:ext>
            </a:extLst>
          </p:cNvPr>
          <p:cNvSpPr/>
          <p:nvPr/>
        </p:nvSpPr>
        <p:spPr>
          <a:xfrm rot="5400000">
            <a:off x="8269678" y="4784919"/>
            <a:ext cx="762782" cy="464553"/>
          </a:xfrm>
          <a:prstGeom prst="ellipse">
            <a:avLst/>
          </a:prstGeom>
          <a:solidFill>
            <a:schemeClr val="accent1">
              <a:lumMod val="20000"/>
              <a:lumOff val="80000"/>
              <a:alpha val="1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>
              <a:solidFill>
                <a:schemeClr val="accent4"/>
              </a:solidFill>
            </a:endParaRPr>
          </a:p>
        </p:txBody>
      </p:sp>
      <p:sp>
        <p:nvSpPr>
          <p:cNvPr id="141" name="TextBox 34">
            <a:extLst>
              <a:ext uri="{FF2B5EF4-FFF2-40B4-BE49-F238E27FC236}">
                <a16:creationId xmlns:a16="http://schemas.microsoft.com/office/drawing/2014/main" id="{D30A1DCE-C1E0-4617-A289-A83882232DA8}"/>
              </a:ext>
            </a:extLst>
          </p:cNvPr>
          <p:cNvSpPr txBox="1"/>
          <p:nvPr/>
        </p:nvSpPr>
        <p:spPr>
          <a:xfrm>
            <a:off x="9999202" y="5458583"/>
            <a:ext cx="12959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rgbClr val="C81919"/>
                </a:solidFill>
              </a:rPr>
              <a:t>Decisive</a:t>
            </a:r>
          </a:p>
        </p:txBody>
      </p:sp>
    </p:spTree>
    <p:extLst>
      <p:ext uri="{BB962C8B-B14F-4D97-AF65-F5344CB8AC3E}">
        <p14:creationId xmlns:p14="http://schemas.microsoft.com/office/powerpoint/2010/main" val="2841116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med" p14:dur="700">
        <p159:morph option="byObject"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17334E-E571-4F68-9F61-3E347EDDC335}"/>
              </a:ext>
            </a:extLst>
          </p:cNvPr>
          <p:cNvGrpSpPr/>
          <p:nvPr/>
        </p:nvGrpSpPr>
        <p:grpSpPr>
          <a:xfrm>
            <a:off x="814676" y="4010121"/>
            <a:ext cx="4450480" cy="615553"/>
            <a:chOff x="618507" y="3373797"/>
            <a:chExt cx="4450480" cy="615553"/>
          </a:xfrm>
        </p:grpSpPr>
        <p:grpSp>
          <p:nvGrpSpPr>
            <p:cNvPr id="74" name="Group 12">
              <a:extLst>
                <a:ext uri="{FF2B5EF4-FFF2-40B4-BE49-F238E27FC236}">
                  <a16:creationId xmlns:a16="http://schemas.microsoft.com/office/drawing/2014/main" id="{CD286840-509B-40D5-A4C7-3EE4B3C7FEDF}"/>
                </a:ext>
              </a:extLst>
            </p:cNvPr>
            <p:cNvGrpSpPr/>
            <p:nvPr/>
          </p:nvGrpSpPr>
          <p:grpSpPr>
            <a:xfrm>
              <a:off x="618507" y="3467559"/>
              <a:ext cx="487364" cy="368300"/>
              <a:chOff x="8102600" y="2926611"/>
              <a:chExt cx="487364" cy="368300"/>
            </a:xfrm>
          </p:grpSpPr>
          <p:sp>
            <p:nvSpPr>
              <p:cNvPr id="76" name="Oval 179">
                <a:extLst>
                  <a:ext uri="{FF2B5EF4-FFF2-40B4-BE49-F238E27FC236}">
                    <a16:creationId xmlns:a16="http://schemas.microsoft.com/office/drawing/2014/main" id="{1BFD490D-4C90-42DA-A826-B9500AF425A1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188">
                <a:extLst>
                  <a:ext uri="{FF2B5EF4-FFF2-40B4-BE49-F238E27FC236}">
                    <a16:creationId xmlns:a16="http://schemas.microsoft.com/office/drawing/2014/main" id="{0AEB8734-DB0E-48C6-B5B2-3D5B85340970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5" name="TextBox 192">
              <a:extLst>
                <a:ext uri="{FF2B5EF4-FFF2-40B4-BE49-F238E27FC236}">
                  <a16:creationId xmlns:a16="http://schemas.microsoft.com/office/drawing/2014/main" id="{6FF9AFA5-26CD-412F-B74B-7A2FA2D62A20}"/>
                </a:ext>
              </a:extLst>
            </p:cNvPr>
            <p:cNvSpPr txBox="1"/>
            <p:nvPr/>
          </p:nvSpPr>
          <p:spPr>
            <a:xfrm>
              <a:off x="1352859" y="3373797"/>
              <a:ext cx="3716128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pare to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ate-of-the-art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an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haustive search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lin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423CF6E-616E-4947-AEF4-25CEC22179A2}"/>
              </a:ext>
            </a:extLst>
          </p:cNvPr>
          <p:cNvGrpSpPr/>
          <p:nvPr/>
        </p:nvGrpSpPr>
        <p:grpSpPr>
          <a:xfrm>
            <a:off x="823953" y="2651386"/>
            <a:ext cx="4990129" cy="615553"/>
            <a:chOff x="1105871" y="2173117"/>
            <a:chExt cx="4990129" cy="615553"/>
          </a:xfrm>
        </p:grpSpPr>
        <p:grpSp>
          <p:nvGrpSpPr>
            <p:cNvPr id="80" name="Group 13">
              <a:extLst>
                <a:ext uri="{FF2B5EF4-FFF2-40B4-BE49-F238E27FC236}">
                  <a16:creationId xmlns:a16="http://schemas.microsoft.com/office/drawing/2014/main" id="{36061C42-D077-4AB9-B347-EAD162BD65BB}"/>
                </a:ext>
              </a:extLst>
            </p:cNvPr>
            <p:cNvGrpSpPr/>
            <p:nvPr/>
          </p:nvGrpSpPr>
          <p:grpSpPr>
            <a:xfrm>
              <a:off x="1105871" y="2257846"/>
              <a:ext cx="487364" cy="368300"/>
              <a:chOff x="8102600" y="2032000"/>
              <a:chExt cx="487364" cy="368300"/>
            </a:xfrm>
          </p:grpSpPr>
          <p:sp>
            <p:nvSpPr>
              <p:cNvPr id="82" name="Oval 2">
                <a:extLst>
                  <a:ext uri="{FF2B5EF4-FFF2-40B4-BE49-F238E27FC236}">
                    <a16:creationId xmlns:a16="http://schemas.microsoft.com/office/drawing/2014/main" id="{01AF32A3-88DF-438C-87AA-D4EB593340E4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187">
                <a:extLst>
                  <a:ext uri="{FF2B5EF4-FFF2-40B4-BE49-F238E27FC236}">
                    <a16:creationId xmlns:a16="http://schemas.microsoft.com/office/drawing/2014/main" id="{BA89A1DA-8D11-4C1A-B07F-93B64C85FA54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1" name="TextBox 191">
              <a:extLst>
                <a:ext uri="{FF2B5EF4-FFF2-40B4-BE49-F238E27FC236}">
                  <a16:creationId xmlns:a16="http://schemas.microsoft.com/office/drawing/2014/main" id="{1CCC7179-7448-489B-93AD-BDABA7768BAC}"/>
                </a:ext>
              </a:extLst>
            </p:cNvPr>
            <p:cNvSpPr txBox="1"/>
            <p:nvPr/>
          </p:nvSpPr>
          <p:spPr>
            <a:xfrm>
              <a:off x="1840224" y="2173117"/>
              <a:ext cx="425577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oal: assess scalability and sensitivity on varying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put parameters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sets</a:t>
              </a:r>
              <a:endParaRPr lang="en-US" sz="2000" b="1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2B9614D3-8D31-4036-B59B-6953E0F2C8C1}"/>
              </a:ext>
            </a:extLst>
          </p:cNvPr>
          <p:cNvGrpSpPr/>
          <p:nvPr/>
        </p:nvGrpSpPr>
        <p:grpSpPr>
          <a:xfrm>
            <a:off x="6480982" y="1367232"/>
            <a:ext cx="5082367" cy="4358920"/>
            <a:chOff x="6232618" y="1367232"/>
            <a:chExt cx="5082367" cy="4358920"/>
          </a:xfrm>
        </p:grpSpPr>
        <p:sp>
          <p:nvSpPr>
            <p:cNvPr id="154" name="Rectangle: Rounded Corners 153">
              <a:extLst>
                <a:ext uri="{FF2B5EF4-FFF2-40B4-BE49-F238E27FC236}">
                  <a16:creationId xmlns:a16="http://schemas.microsoft.com/office/drawing/2014/main" id="{1CCF4B57-DB10-405D-AD58-E5A73AAD9605}"/>
                </a:ext>
              </a:extLst>
            </p:cNvPr>
            <p:cNvSpPr/>
            <p:nvPr/>
          </p:nvSpPr>
          <p:spPr>
            <a:xfrm>
              <a:off x="6232618" y="1367232"/>
              <a:ext cx="1656000" cy="998013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C819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C81919"/>
                  </a:solidFill>
                  <a:latin typeface="Raleway" panose="020B0503030101060003" pitchFamily="34" charset="0"/>
                </a:rPr>
                <a:t>Stock </a:t>
              </a:r>
            </a:p>
            <a:p>
              <a:r>
                <a:rPr lang="en-IN" sz="1600" dirty="0">
                  <a:solidFill>
                    <a:srgbClr val="C81919"/>
                  </a:solidFill>
                  <a:latin typeface="Raleway" panose="020B0503030101060003" pitchFamily="34" charset="0"/>
                </a:rPr>
                <a:t>Trade data from NYSE</a:t>
              </a:r>
            </a:p>
          </p:txBody>
        </p:sp>
        <p:sp>
          <p:nvSpPr>
            <p:cNvPr id="156" name="Hexagon 155">
              <a:extLst>
                <a:ext uri="{FF2B5EF4-FFF2-40B4-BE49-F238E27FC236}">
                  <a16:creationId xmlns:a16="http://schemas.microsoft.com/office/drawing/2014/main" id="{DF31EDA3-222A-4C9E-A869-171384EDCD8A}"/>
                </a:ext>
              </a:extLst>
            </p:cNvPr>
            <p:cNvSpPr/>
            <p:nvPr/>
          </p:nvSpPr>
          <p:spPr>
            <a:xfrm rot="5400000">
              <a:off x="7814494" y="1447263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C81919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8" name="Rectangle: Rounded Corners 157">
              <a:extLst>
                <a:ext uri="{FF2B5EF4-FFF2-40B4-BE49-F238E27FC236}">
                  <a16:creationId xmlns:a16="http://schemas.microsoft.com/office/drawing/2014/main" id="{30FC6DD8-A0DD-4E9C-AD0E-A511425B2CBA}"/>
                </a:ext>
              </a:extLst>
            </p:cNvPr>
            <p:cNvSpPr/>
            <p:nvPr/>
          </p:nvSpPr>
          <p:spPr>
            <a:xfrm>
              <a:off x="9458466" y="1998167"/>
              <a:ext cx="1856519" cy="1255958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EC6A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en-IN" sz="2400" b="1" dirty="0">
                  <a:solidFill>
                    <a:srgbClr val="EC6A6A"/>
                  </a:solidFill>
                  <a:latin typeface="Raleway" panose="020B0503030101060003" pitchFamily="34" charset="0"/>
                </a:rPr>
                <a:t>SLP</a:t>
              </a:r>
              <a:endParaRPr lang="en-IN" sz="2000" b="1" dirty="0">
                <a:solidFill>
                  <a:srgbClr val="EC6A6A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EC6A6A"/>
                  </a:solidFill>
                  <a:latin typeface="Raleway" panose="020B0503030101060003" pitchFamily="34" charset="0"/>
                </a:rPr>
                <a:t>Sea Level Pressure measurements</a:t>
              </a:r>
            </a:p>
          </p:txBody>
        </p:sp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9654075F-E5B3-4E1A-9B6E-B7854A6C931D}"/>
                </a:ext>
              </a:extLst>
            </p:cNvPr>
            <p:cNvSpPr/>
            <p:nvPr/>
          </p:nvSpPr>
          <p:spPr>
            <a:xfrm rot="5400000">
              <a:off x="8506035" y="2283700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EC6A6A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2" name="Rectangle: Rounded Corners 161">
              <a:extLst>
                <a:ext uri="{FF2B5EF4-FFF2-40B4-BE49-F238E27FC236}">
                  <a16:creationId xmlns:a16="http://schemas.microsoft.com/office/drawing/2014/main" id="{61392D84-6713-4268-9F9B-000BB71D6C72}"/>
                </a:ext>
              </a:extLst>
            </p:cNvPr>
            <p:cNvSpPr/>
            <p:nvPr/>
          </p:nvSpPr>
          <p:spPr>
            <a:xfrm>
              <a:off x="6232618" y="3087054"/>
              <a:ext cx="1656000" cy="889595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EC6A6A"/>
                  </a:solidFill>
                  <a:latin typeface="Raleway" panose="020B0503030101060003" pitchFamily="34" charset="0"/>
                </a:rPr>
                <a:t>Temp</a:t>
              </a:r>
              <a:endParaRPr lang="en-IN" sz="2000" b="1" dirty="0">
                <a:solidFill>
                  <a:srgbClr val="EC6A6A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EC6A6A"/>
                  </a:solidFill>
                  <a:latin typeface="Raleway" panose="020B0503030101060003" pitchFamily="34" charset="0"/>
                </a:rPr>
                <a:t>Temperature sensor data</a:t>
              </a:r>
            </a:p>
          </p:txBody>
        </p:sp>
        <p:sp>
          <p:nvSpPr>
            <p:cNvPr id="164" name="Hexagon 163">
              <a:extLst>
                <a:ext uri="{FF2B5EF4-FFF2-40B4-BE49-F238E27FC236}">
                  <a16:creationId xmlns:a16="http://schemas.microsoft.com/office/drawing/2014/main" id="{DFB573FE-8562-4529-8B29-6CEE23F65853}"/>
                </a:ext>
              </a:extLst>
            </p:cNvPr>
            <p:cNvSpPr/>
            <p:nvPr/>
          </p:nvSpPr>
          <p:spPr>
            <a:xfrm rot="5400000">
              <a:off x="7814494" y="3120137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rgbClr val="F6B8B8"/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F72182C2-0E51-40F0-8703-76426D6916EE}"/>
                </a:ext>
              </a:extLst>
            </p:cNvPr>
            <p:cNvSpPr/>
            <p:nvPr/>
          </p:nvSpPr>
          <p:spPr>
            <a:xfrm>
              <a:off x="9458466" y="3756933"/>
              <a:ext cx="1747597" cy="1255958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en-IN" sz="2400" b="1" dirty="0">
                  <a:solidFill>
                    <a:srgbClr val="A6A6A6"/>
                  </a:solidFill>
                  <a:latin typeface="Raleway" panose="020B0503030101060003" pitchFamily="34" charset="0"/>
                </a:rPr>
                <a:t>Crypto</a:t>
              </a:r>
              <a:endParaRPr lang="en-IN" sz="2000" b="1" dirty="0">
                <a:solidFill>
                  <a:srgbClr val="A6A6A6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A6A6A6"/>
                  </a:solidFill>
                  <a:latin typeface="Raleway" panose="020B0503030101060003" pitchFamily="34" charset="0"/>
                </a:rPr>
                <a:t>Prices of crypto-currencies</a:t>
              </a:r>
            </a:p>
          </p:txBody>
        </p:sp>
        <p:sp>
          <p:nvSpPr>
            <p:cNvPr id="168" name="Hexagon 167">
              <a:extLst>
                <a:ext uri="{FF2B5EF4-FFF2-40B4-BE49-F238E27FC236}">
                  <a16:creationId xmlns:a16="http://schemas.microsoft.com/office/drawing/2014/main" id="{13C1299D-3071-4652-A09A-4D240FD3E740}"/>
                </a:ext>
              </a:extLst>
            </p:cNvPr>
            <p:cNvSpPr/>
            <p:nvPr/>
          </p:nvSpPr>
          <p:spPr>
            <a:xfrm rot="5400000">
              <a:off x="8506035" y="3956574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0" name="Rectangle: Rounded Corners 169">
              <a:extLst>
                <a:ext uri="{FF2B5EF4-FFF2-40B4-BE49-F238E27FC236}">
                  <a16:creationId xmlns:a16="http://schemas.microsoft.com/office/drawing/2014/main" id="{C44AC3B9-3A53-4D43-960C-4B8A8ECBD663}"/>
                </a:ext>
              </a:extLst>
            </p:cNvPr>
            <p:cNvSpPr/>
            <p:nvPr/>
          </p:nvSpPr>
          <p:spPr>
            <a:xfrm>
              <a:off x="6232618" y="4728139"/>
              <a:ext cx="1656000" cy="998013"/>
            </a:xfrm>
            <a:prstGeom prst="roundRect">
              <a:avLst>
                <a:gd name="adj" fmla="val 7971"/>
              </a:avLst>
            </a:prstGeom>
            <a:solidFill>
              <a:schemeClr val="bg1"/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16000" rtlCol="0" anchor="ctr"/>
            <a:lstStyle/>
            <a:p>
              <a:r>
                <a:rPr lang="en-IN" sz="2400" b="1" dirty="0">
                  <a:solidFill>
                    <a:srgbClr val="7F7F7F"/>
                  </a:solidFill>
                  <a:latin typeface="Raleway" panose="020B0503030101060003" pitchFamily="34" charset="0"/>
                </a:rPr>
                <a:t>fMRI</a:t>
              </a:r>
              <a:endParaRPr lang="en-IN" sz="2000" b="1" dirty="0">
                <a:solidFill>
                  <a:srgbClr val="7F7F7F"/>
                </a:solidFill>
                <a:latin typeface="Raleway" panose="020B0503030101060003" pitchFamily="34" charset="0"/>
              </a:endParaRPr>
            </a:p>
            <a:p>
              <a:r>
                <a:rPr lang="en-IN" sz="1600" dirty="0">
                  <a:solidFill>
                    <a:srgbClr val="7F7F7F"/>
                  </a:solidFill>
                  <a:latin typeface="Raleway" panose="020B0503030101060003" pitchFamily="34" charset="0"/>
                </a:rPr>
                <a:t>Functional MRI data</a:t>
              </a:r>
            </a:p>
          </p:txBody>
        </p:sp>
        <p:sp>
          <p:nvSpPr>
            <p:cNvPr id="172" name="Hexagon 171">
              <a:extLst>
                <a:ext uri="{FF2B5EF4-FFF2-40B4-BE49-F238E27FC236}">
                  <a16:creationId xmlns:a16="http://schemas.microsoft.com/office/drawing/2014/main" id="{F46DEAAE-0DAB-42AA-9631-BE1C7B68FA00}"/>
                </a:ext>
              </a:extLst>
            </p:cNvPr>
            <p:cNvSpPr/>
            <p:nvPr/>
          </p:nvSpPr>
          <p:spPr>
            <a:xfrm rot="5400000">
              <a:off x="7814494" y="4793010"/>
              <a:ext cx="998013" cy="868271"/>
            </a:xfrm>
            <a:prstGeom prst="hexagon">
              <a:avLst>
                <a:gd name="adj" fmla="val 32643"/>
                <a:gd name="vf" fmla="val 11547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203200" dist="38100" dir="2700000" algn="tl" rotWithShape="0">
                <a:schemeClr val="tx1">
                  <a:lumMod val="65000"/>
                  <a:lumOff val="35000"/>
                  <a:alpha val="77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pic>
          <p:nvPicPr>
            <p:cNvPr id="32" name="Picture 31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D42FD26-0F07-4C7D-B8C6-E575CF409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9092" y="1688841"/>
              <a:ext cx="376268" cy="376268"/>
            </a:xfrm>
            <a:prstGeom prst="rect">
              <a:avLst/>
            </a:prstGeom>
          </p:spPr>
        </p:pic>
        <p:pic>
          <p:nvPicPr>
            <p:cNvPr id="34" name="Picture 33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00B07B5A-B91D-413B-B9F0-1ABD60548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9536" y="2444947"/>
              <a:ext cx="471009" cy="471009"/>
            </a:xfrm>
            <a:prstGeom prst="rect">
              <a:avLst/>
            </a:prstGeom>
          </p:spPr>
        </p:pic>
        <p:pic>
          <p:nvPicPr>
            <p:cNvPr id="36" name="Picture 35" descr="Icon&#10;&#10;Description automatically generated">
              <a:extLst>
                <a:ext uri="{FF2B5EF4-FFF2-40B4-BE49-F238E27FC236}">
                  <a16:creationId xmlns:a16="http://schemas.microsoft.com/office/drawing/2014/main" id="{75171C5A-17E6-41A5-B4EF-45C65652E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0500" y="3322923"/>
              <a:ext cx="466000" cy="466000"/>
            </a:xfrm>
            <a:prstGeom prst="rect">
              <a:avLst/>
            </a:prstGeom>
          </p:spPr>
        </p:pic>
        <p:pic>
          <p:nvPicPr>
            <p:cNvPr id="1025" name="Picture 1024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4EEE3A03-0833-4971-958E-81D6BDC60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9536" y="4144150"/>
              <a:ext cx="481524" cy="481524"/>
            </a:xfrm>
            <a:prstGeom prst="rect">
              <a:avLst/>
            </a:prstGeom>
          </p:spPr>
        </p:pic>
        <p:pic>
          <p:nvPicPr>
            <p:cNvPr id="1027" name="Picture 1026" descr="Icon&#10;&#10;Description automatically generated">
              <a:extLst>
                <a:ext uri="{FF2B5EF4-FFF2-40B4-BE49-F238E27FC236}">
                  <a16:creationId xmlns:a16="http://schemas.microsoft.com/office/drawing/2014/main" id="{C36A1F1D-4744-41A6-93C1-402F89C0B7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8505" y="4978737"/>
              <a:ext cx="489989" cy="489989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FDDFD0-3947-44FA-8ED0-AA1DA24E6482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8ADF951-7463-4435-B1C6-7D7D4899B6DD}"/>
              </a:ext>
            </a:extLst>
          </p:cNvPr>
          <p:cNvSpPr txBox="1"/>
          <p:nvPr/>
        </p:nvSpPr>
        <p:spPr>
          <a:xfrm>
            <a:off x="874713" y="1074167"/>
            <a:ext cx="236122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al set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78B8E3-84F8-4CBB-9614-08D927E4F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1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966148906"/>
      </p:ext>
    </p:extLst>
  </p:cSld>
  <p:clrMapOvr>
    <a:masterClrMapping/>
  </p:clrMapOvr>
  <p:transition spd="slow">
    <p:push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B653D48B-03BD-46F5-B3E7-0C066428C3F4}"/>
              </a:ext>
            </a:extLst>
          </p:cNvPr>
          <p:cNvSpPr txBox="1"/>
          <p:nvPr/>
        </p:nvSpPr>
        <p:spPr>
          <a:xfrm>
            <a:off x="7942162" y="821637"/>
            <a:ext cx="1220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>
                <a:solidFill>
                  <a:srgbClr val="C81919"/>
                </a:solidFill>
              </a:rPr>
              <a:t>Scalability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D232A1-2BBD-4BBA-9155-D88F1B087933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EAD39F1-7451-44C9-9AB1-BBF283ABF1F5}"/>
              </a:ext>
            </a:extLst>
          </p:cNvPr>
          <p:cNvSpPr txBox="1"/>
          <p:nvPr/>
        </p:nvSpPr>
        <p:spPr>
          <a:xfrm>
            <a:off x="874713" y="1074167"/>
            <a:ext cx="21881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</a:t>
            </a:r>
          </a:p>
        </p:txBody>
      </p:sp>
      <p:grpSp>
        <p:nvGrpSpPr>
          <p:cNvPr id="30" name="Group 10">
            <a:extLst>
              <a:ext uri="{FF2B5EF4-FFF2-40B4-BE49-F238E27FC236}">
                <a16:creationId xmlns:a16="http://schemas.microsoft.com/office/drawing/2014/main" id="{C7A77E60-758E-442B-9986-3427F82DFA7C}"/>
              </a:ext>
            </a:extLst>
          </p:cNvPr>
          <p:cNvGrpSpPr/>
          <p:nvPr/>
        </p:nvGrpSpPr>
        <p:grpSpPr>
          <a:xfrm>
            <a:off x="766304" y="4940704"/>
            <a:ext cx="811103" cy="801212"/>
            <a:chOff x="4279221" y="2033354"/>
            <a:chExt cx="1412875" cy="1395646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0FA59D2-4AEA-4136-9808-ED9686842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503324AB-FB63-4383-A778-4BCD05C31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7" name="Group 10">
            <a:extLst>
              <a:ext uri="{FF2B5EF4-FFF2-40B4-BE49-F238E27FC236}">
                <a16:creationId xmlns:a16="http://schemas.microsoft.com/office/drawing/2014/main" id="{02E673C8-043F-4A34-A856-918C3AB068CE}"/>
              </a:ext>
            </a:extLst>
          </p:cNvPr>
          <p:cNvGrpSpPr/>
          <p:nvPr/>
        </p:nvGrpSpPr>
        <p:grpSpPr>
          <a:xfrm>
            <a:off x="766304" y="3422040"/>
            <a:ext cx="811103" cy="801212"/>
            <a:chOff x="4279221" y="2033354"/>
            <a:chExt cx="1412875" cy="1395646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1F02E4C9-76CE-49B4-930D-B4A79BB26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9111D330-58CC-4364-970D-9F555167D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5" name="Group 10">
            <a:extLst>
              <a:ext uri="{FF2B5EF4-FFF2-40B4-BE49-F238E27FC236}">
                <a16:creationId xmlns:a16="http://schemas.microsoft.com/office/drawing/2014/main" id="{80C82DFA-8161-4AF0-9D78-529F15012D32}"/>
              </a:ext>
            </a:extLst>
          </p:cNvPr>
          <p:cNvGrpSpPr/>
          <p:nvPr/>
        </p:nvGrpSpPr>
        <p:grpSpPr>
          <a:xfrm>
            <a:off x="766304" y="1916180"/>
            <a:ext cx="811103" cy="801212"/>
            <a:chOff x="4279221" y="2033354"/>
            <a:chExt cx="1412875" cy="1395646"/>
          </a:xfrm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A4AF0055-5170-4EA4-9413-EE547D21F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F6D43D4B-FCA3-4B36-9C3B-7093939F5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14EF10A-1801-46E2-A1AD-236E25770BAA}"/>
              </a:ext>
            </a:extLst>
          </p:cNvPr>
          <p:cNvGrpSpPr/>
          <p:nvPr/>
        </p:nvGrpSpPr>
        <p:grpSpPr>
          <a:xfrm>
            <a:off x="1022308" y="1799579"/>
            <a:ext cx="4393782" cy="1041173"/>
            <a:chOff x="1022308" y="1799579"/>
            <a:chExt cx="4393782" cy="1041173"/>
          </a:xfrm>
        </p:grpSpPr>
        <p:grpSp>
          <p:nvGrpSpPr>
            <p:cNvPr id="49" name="Groep 2">
              <a:extLst>
                <a:ext uri="{FF2B5EF4-FFF2-40B4-BE49-F238E27FC236}">
                  <a16:creationId xmlns:a16="http://schemas.microsoft.com/office/drawing/2014/main" id="{3533231E-91FE-4049-B293-AC7E1556A674}"/>
                </a:ext>
              </a:extLst>
            </p:cNvPr>
            <p:cNvGrpSpPr/>
            <p:nvPr/>
          </p:nvGrpSpPr>
          <p:grpSpPr>
            <a:xfrm>
              <a:off x="1847893" y="1799579"/>
              <a:ext cx="3568197" cy="1041173"/>
              <a:chOff x="2000680" y="1903998"/>
              <a:chExt cx="2772249" cy="1041173"/>
            </a:xfrm>
          </p:grpSpPr>
          <p:sp>
            <p:nvSpPr>
              <p:cNvPr id="51" name="TextBox 51">
                <a:extLst>
                  <a:ext uri="{FF2B5EF4-FFF2-40B4-BE49-F238E27FC236}">
                    <a16:creationId xmlns:a16="http://schemas.microsoft.com/office/drawing/2014/main" id="{41DAEB02-CC21-4C93-BD20-1245A2D30B9D}"/>
                  </a:ext>
                </a:extLst>
              </p:cNvPr>
              <p:cNvSpPr txBox="1"/>
              <p:nvPr/>
            </p:nvSpPr>
            <p:spPr>
              <a:xfrm>
                <a:off x="2000681" y="1903998"/>
                <a:ext cx="1007400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400" b="1" dirty="0">
                    <a:solidFill>
                      <a:srgbClr val="404040"/>
                    </a:solidFill>
                  </a:rPr>
                  <a:t>Scalability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F5DF1A19-3DFD-41A7-929D-1857DC8F9717}"/>
                  </a:ext>
                </a:extLst>
              </p:cNvPr>
              <p:cNvSpPr txBox="1"/>
              <p:nvPr/>
            </p:nvSpPr>
            <p:spPr>
              <a:xfrm>
                <a:off x="2000680" y="2329618"/>
                <a:ext cx="2772249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NL"/>
                </a:defPPr>
                <a:lvl1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en-US" sz="2000" dirty="0"/>
                  <a:t>CD scales better than exhaustive baseline</a:t>
                </a:r>
              </a:p>
            </p:txBody>
          </p:sp>
        </p:grpSp>
        <p:pic>
          <p:nvPicPr>
            <p:cNvPr id="50" name="Picture 49" descr="Icon&#10;&#10;Description automatically generated">
              <a:extLst>
                <a:ext uri="{FF2B5EF4-FFF2-40B4-BE49-F238E27FC236}">
                  <a16:creationId xmlns:a16="http://schemas.microsoft.com/office/drawing/2014/main" id="{3365DA09-6BE3-4DB1-9541-EABF6D250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308" y="2140378"/>
              <a:ext cx="331142" cy="331142"/>
            </a:xfrm>
            <a:prstGeom prst="rect">
              <a:avLst/>
            </a:prstGeom>
          </p:spPr>
        </p:pic>
      </p:grp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E04069E-4B14-445A-B94B-8246B0715E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1361886"/>
              </p:ext>
            </p:extLst>
          </p:nvPr>
        </p:nvGraphicFramePr>
        <p:xfrm>
          <a:off x="5853832" y="1228055"/>
          <a:ext cx="4770021" cy="2653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B9B2277D-C920-4CBC-9E42-50DAC8249A67}"/>
              </a:ext>
            </a:extLst>
          </p:cNvPr>
          <p:cNvGrpSpPr/>
          <p:nvPr/>
        </p:nvGrpSpPr>
        <p:grpSpPr>
          <a:xfrm>
            <a:off x="8583363" y="1570971"/>
            <a:ext cx="2898849" cy="1020256"/>
            <a:chOff x="9266442" y="2140379"/>
            <a:chExt cx="2806836" cy="102025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Rectangle: Rounded Corners 38">
                  <a:extLst>
                    <a:ext uri="{FF2B5EF4-FFF2-40B4-BE49-F238E27FC236}">
                      <a16:creationId xmlns:a16="http://schemas.microsoft.com/office/drawing/2014/main" id="{6F0713BE-A38D-468B-BCB8-8DA5222A047A}"/>
                    </a:ext>
                  </a:extLst>
                </p:cNvPr>
                <p:cNvSpPr/>
                <p:nvPr/>
              </p:nvSpPr>
              <p:spPr>
                <a:xfrm>
                  <a:off x="9266442" y="2140379"/>
                  <a:ext cx="2806836" cy="664566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𝑃𝑒𝑎𝑟𝑠𝑜𝑛</m:t>
                        </m:r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v</m:t>
                            </m:r>
                          </m:e>
                          <m: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Avg</m:t>
                        </m:r>
                        <m:d>
                          <m:dPr>
                            <m:ctrlPr>
                              <a:rPr lang="en-US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v</m:t>
                                </m:r>
                              </m:e>
                              <m:sub>
                                <m:r>
                                  <a:rPr lang="en-US" b="0" i="0" smtClean="0">
                                    <a:solidFill>
                                      <a:srgbClr val="40404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  <m:r>
                          <a:rPr lang="en-US" b="0" i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NL" sz="2000" dirty="0">
                    <a:solidFill>
                      <a:srgbClr val="404040"/>
                    </a:solidFill>
                  </a:endParaRPr>
                </a:p>
              </p:txBody>
            </p:sp>
          </mc:Choice>
          <mc:Fallback xmlns="">
            <p:sp>
              <p:nvSpPr>
                <p:cNvPr id="39" name="Rectangle: Rounded Corners 38">
                  <a:extLst>
                    <a:ext uri="{FF2B5EF4-FFF2-40B4-BE49-F238E27FC236}">
                      <a16:creationId xmlns:a16="http://schemas.microsoft.com/office/drawing/2014/main" id="{6F0713BE-A38D-468B-BCB8-8DA5222A047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266442" y="2140379"/>
                  <a:ext cx="2806836" cy="664566"/>
                </a:xfrm>
                <a:prstGeom prst="round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4CF05E9-5642-42DF-96B0-A51347D35E1B}"/>
                </a:ext>
              </a:extLst>
            </p:cNvPr>
            <p:cNvCxnSpPr>
              <a:cxnSpLocks/>
              <a:stCxn id="39" idx="2"/>
            </p:cNvCxnSpPr>
            <p:nvPr/>
          </p:nvCxnSpPr>
          <p:spPr>
            <a:xfrm>
              <a:off x="10669860" y="2804945"/>
              <a:ext cx="0" cy="355690"/>
            </a:xfrm>
            <a:prstGeom prst="line">
              <a:avLst/>
            </a:prstGeom>
            <a:ln>
              <a:solidFill>
                <a:schemeClr val="accent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7580CC-9301-4676-B239-68B763705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5093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Chart bld="series"/>
        </p:bldSub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B653D48B-03BD-46F5-B3E7-0C066428C3F4}"/>
              </a:ext>
            </a:extLst>
          </p:cNvPr>
          <p:cNvSpPr txBox="1"/>
          <p:nvPr/>
        </p:nvSpPr>
        <p:spPr>
          <a:xfrm>
            <a:off x="7942162" y="821637"/>
            <a:ext cx="1220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>
                <a:solidFill>
                  <a:srgbClr val="C81919"/>
                </a:solidFill>
              </a:rPr>
              <a:t>Scalability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32" name="Tekstvak 51">
            <a:extLst>
              <a:ext uri="{FF2B5EF4-FFF2-40B4-BE49-F238E27FC236}">
                <a16:creationId xmlns:a16="http://schemas.microsoft.com/office/drawing/2014/main" id="{F61C4CA7-0AB4-4F1C-91A5-EAD502669C1F}"/>
              </a:ext>
            </a:extLst>
          </p:cNvPr>
          <p:cNvSpPr txBox="1"/>
          <p:nvPr/>
        </p:nvSpPr>
        <p:spPr>
          <a:xfrm>
            <a:off x="7627878" y="3918236"/>
            <a:ext cx="1950937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b="1" dirty="0">
                <a:solidFill>
                  <a:srgbClr val="C81919"/>
                </a:solidFill>
              </a:rPr>
              <a:t>SOTA </a:t>
            </a:r>
            <a:r>
              <a:rPr lang="nl-NL" b="1" dirty="0" err="1">
                <a:solidFill>
                  <a:srgbClr val="C81919"/>
                </a:solidFill>
              </a:rPr>
              <a:t>comparison</a:t>
            </a:r>
            <a:endParaRPr lang="en-NL" b="1" dirty="0">
              <a:solidFill>
                <a:srgbClr val="C81919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09ACAC-098F-4EA8-AD99-87406D0493FB}"/>
              </a:ext>
            </a:extLst>
          </p:cNvPr>
          <p:cNvSpPr txBox="1"/>
          <p:nvPr/>
        </p:nvSpPr>
        <p:spPr>
          <a:xfrm>
            <a:off x="874713" y="318367"/>
            <a:ext cx="282930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F30D0DF-26D2-412A-8532-D845EC5B95BC}"/>
              </a:ext>
            </a:extLst>
          </p:cNvPr>
          <p:cNvSpPr txBox="1"/>
          <p:nvPr/>
        </p:nvSpPr>
        <p:spPr>
          <a:xfrm>
            <a:off x="874713" y="1074167"/>
            <a:ext cx="21881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</a:t>
            </a:r>
          </a:p>
        </p:txBody>
      </p:sp>
      <p:grpSp>
        <p:nvGrpSpPr>
          <p:cNvPr id="63" name="Group 10">
            <a:extLst>
              <a:ext uri="{FF2B5EF4-FFF2-40B4-BE49-F238E27FC236}">
                <a16:creationId xmlns:a16="http://schemas.microsoft.com/office/drawing/2014/main" id="{B54B4915-FA2C-467A-9C87-C129355B8EBC}"/>
              </a:ext>
            </a:extLst>
          </p:cNvPr>
          <p:cNvGrpSpPr/>
          <p:nvPr/>
        </p:nvGrpSpPr>
        <p:grpSpPr>
          <a:xfrm>
            <a:off x="766304" y="4940704"/>
            <a:ext cx="811103" cy="801212"/>
            <a:chOff x="4279221" y="2033354"/>
            <a:chExt cx="1412875" cy="1395646"/>
          </a:xfrm>
        </p:grpSpPr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C9C12F4A-9A5C-4434-A2AC-7365BAF56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5647C98D-9935-48FA-8A2D-C7885CCD0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70" name="Group 10">
            <a:extLst>
              <a:ext uri="{FF2B5EF4-FFF2-40B4-BE49-F238E27FC236}">
                <a16:creationId xmlns:a16="http://schemas.microsoft.com/office/drawing/2014/main" id="{7FCC31EC-B370-4C83-9E7E-FD458A35577A}"/>
              </a:ext>
            </a:extLst>
          </p:cNvPr>
          <p:cNvGrpSpPr/>
          <p:nvPr/>
        </p:nvGrpSpPr>
        <p:grpSpPr>
          <a:xfrm>
            <a:off x="766304" y="3422040"/>
            <a:ext cx="811103" cy="801212"/>
            <a:chOff x="4279221" y="2033354"/>
            <a:chExt cx="1412875" cy="1395646"/>
          </a:xfrm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6F75371D-E66A-45CF-B9B2-68D5D2190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6F9435AC-D359-438C-8D34-11AA29B9E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9304738-CBB8-4649-9AEB-CB2F3B920431}"/>
              </a:ext>
            </a:extLst>
          </p:cNvPr>
          <p:cNvGrpSpPr/>
          <p:nvPr/>
        </p:nvGrpSpPr>
        <p:grpSpPr>
          <a:xfrm>
            <a:off x="1000110" y="3325028"/>
            <a:ext cx="3735446" cy="1035514"/>
            <a:chOff x="1000110" y="3213969"/>
            <a:chExt cx="3735446" cy="1035514"/>
          </a:xfrm>
        </p:grpSpPr>
        <p:sp>
          <p:nvSpPr>
            <p:cNvPr id="74" name="TextBox 51">
              <a:extLst>
                <a:ext uri="{FF2B5EF4-FFF2-40B4-BE49-F238E27FC236}">
                  <a16:creationId xmlns:a16="http://schemas.microsoft.com/office/drawing/2014/main" id="{0D703CD0-CAE0-4905-B219-9E60780920B2}"/>
                </a:ext>
              </a:extLst>
            </p:cNvPr>
            <p:cNvSpPr txBox="1"/>
            <p:nvPr/>
          </p:nvSpPr>
          <p:spPr>
            <a:xfrm>
              <a:off x="1847894" y="3213969"/>
              <a:ext cx="2227854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sz="2400" b="1" dirty="0">
                  <a:solidFill>
                    <a:srgbClr val="404040"/>
                  </a:solidFill>
                </a:rPr>
                <a:t>SOTA comparison</a:t>
              </a:r>
            </a:p>
          </p:txBody>
        </p:sp>
        <p:sp>
          <p:nvSpPr>
            <p:cNvPr id="75" name="TextBox 52">
              <a:extLst>
                <a:ext uri="{FF2B5EF4-FFF2-40B4-BE49-F238E27FC236}">
                  <a16:creationId xmlns:a16="http://schemas.microsoft.com/office/drawing/2014/main" id="{33C89F79-3A92-4859-810A-DC484B71F510}"/>
                </a:ext>
              </a:extLst>
            </p:cNvPr>
            <p:cNvSpPr txBox="1"/>
            <p:nvPr/>
          </p:nvSpPr>
          <p:spPr>
            <a:xfrm>
              <a:off x="1847894" y="3633930"/>
              <a:ext cx="288766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NL"/>
              </a:defPPr>
              <a:lvl1pPr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sz="2000" dirty="0"/>
                <a:t>CD finds more results in less time</a:t>
              </a:r>
            </a:p>
          </p:txBody>
        </p:sp>
        <p:pic>
          <p:nvPicPr>
            <p:cNvPr id="76" name="Picture 75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FFCC24FF-48C6-4F52-9EC8-393D5AE72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10" y="3516321"/>
              <a:ext cx="406404" cy="406404"/>
            </a:xfrm>
            <a:prstGeom prst="rect">
              <a:avLst/>
            </a:prstGeom>
          </p:spPr>
        </p:pic>
      </p:grpSp>
      <p:grpSp>
        <p:nvGrpSpPr>
          <p:cNvPr id="78" name="Group 10">
            <a:extLst>
              <a:ext uri="{FF2B5EF4-FFF2-40B4-BE49-F238E27FC236}">
                <a16:creationId xmlns:a16="http://schemas.microsoft.com/office/drawing/2014/main" id="{A710B0CD-69E2-45AE-82BF-D83864065C98}"/>
              </a:ext>
            </a:extLst>
          </p:cNvPr>
          <p:cNvGrpSpPr/>
          <p:nvPr/>
        </p:nvGrpSpPr>
        <p:grpSpPr>
          <a:xfrm>
            <a:off x="766304" y="1916180"/>
            <a:ext cx="811103" cy="801212"/>
            <a:chOff x="4279221" y="2033354"/>
            <a:chExt cx="1412875" cy="1395646"/>
          </a:xfrm>
        </p:grpSpPr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7CC6684D-9FFF-424A-B7CC-2EE49E16D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709CCB31-125C-4AD7-A71B-25C299CAB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79090DD-F888-4E8F-BE1E-E283165233C2}"/>
              </a:ext>
            </a:extLst>
          </p:cNvPr>
          <p:cNvGrpSpPr/>
          <p:nvPr/>
        </p:nvGrpSpPr>
        <p:grpSpPr>
          <a:xfrm>
            <a:off x="1022308" y="1799579"/>
            <a:ext cx="4393782" cy="1041173"/>
            <a:chOff x="1022308" y="1799579"/>
            <a:chExt cx="4393782" cy="1041173"/>
          </a:xfrm>
        </p:grpSpPr>
        <p:grpSp>
          <p:nvGrpSpPr>
            <p:cNvPr id="82" name="Groep 2">
              <a:extLst>
                <a:ext uri="{FF2B5EF4-FFF2-40B4-BE49-F238E27FC236}">
                  <a16:creationId xmlns:a16="http://schemas.microsoft.com/office/drawing/2014/main" id="{E51D3C28-89C8-41E5-980B-2F3F2C390209}"/>
                </a:ext>
              </a:extLst>
            </p:cNvPr>
            <p:cNvGrpSpPr/>
            <p:nvPr/>
          </p:nvGrpSpPr>
          <p:grpSpPr>
            <a:xfrm>
              <a:off x="1847893" y="1799579"/>
              <a:ext cx="3568197" cy="1041173"/>
              <a:chOff x="2000680" y="1903998"/>
              <a:chExt cx="2772249" cy="1041173"/>
            </a:xfrm>
          </p:grpSpPr>
          <p:sp>
            <p:nvSpPr>
              <p:cNvPr id="95" name="TextBox 51">
                <a:extLst>
                  <a:ext uri="{FF2B5EF4-FFF2-40B4-BE49-F238E27FC236}">
                    <a16:creationId xmlns:a16="http://schemas.microsoft.com/office/drawing/2014/main" id="{A8412637-60D4-4AE4-A4C3-CB32E66B140C}"/>
                  </a:ext>
                </a:extLst>
              </p:cNvPr>
              <p:cNvSpPr txBox="1"/>
              <p:nvPr/>
            </p:nvSpPr>
            <p:spPr>
              <a:xfrm>
                <a:off x="2000681" y="1903998"/>
                <a:ext cx="1007400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400" b="1" dirty="0">
                    <a:solidFill>
                      <a:srgbClr val="404040"/>
                    </a:solidFill>
                  </a:rPr>
                  <a:t>Scalability</a:t>
                </a:r>
              </a:p>
            </p:txBody>
          </p:sp>
          <p:sp>
            <p:nvSpPr>
              <p:cNvPr id="96" name="TextBox 52">
                <a:extLst>
                  <a:ext uri="{FF2B5EF4-FFF2-40B4-BE49-F238E27FC236}">
                    <a16:creationId xmlns:a16="http://schemas.microsoft.com/office/drawing/2014/main" id="{EB6A0D18-41A4-4F57-A5D2-0ABD4EC90608}"/>
                  </a:ext>
                </a:extLst>
              </p:cNvPr>
              <p:cNvSpPr txBox="1"/>
              <p:nvPr/>
            </p:nvSpPr>
            <p:spPr>
              <a:xfrm>
                <a:off x="2000680" y="2329618"/>
                <a:ext cx="2772249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NL"/>
                </a:defPPr>
                <a:lvl1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en-US" sz="2000" dirty="0"/>
                  <a:t>CD scales better than exhaustive baseline</a:t>
                </a:r>
              </a:p>
            </p:txBody>
          </p:sp>
        </p:grpSp>
        <p:pic>
          <p:nvPicPr>
            <p:cNvPr id="92" name="Picture 91" descr="Icon&#10;&#10;Description automatically generated">
              <a:extLst>
                <a:ext uri="{FF2B5EF4-FFF2-40B4-BE49-F238E27FC236}">
                  <a16:creationId xmlns:a16="http://schemas.microsoft.com/office/drawing/2014/main" id="{ACD92093-39D4-4652-B696-63F5AF87B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308" y="2140378"/>
              <a:ext cx="331142" cy="331142"/>
            </a:xfrm>
            <a:prstGeom prst="rect">
              <a:avLst/>
            </a:prstGeom>
          </p:spPr>
        </p:pic>
      </p:grpSp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6BA20AD9-CD1D-4F52-B0A1-46F4CE6ABD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5068" y="4236840"/>
            <a:ext cx="2683041" cy="2352820"/>
          </a:xfrm>
          <a:prstGeom prst="rect">
            <a:avLst/>
          </a:prstGeom>
        </p:spPr>
      </p:pic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927FF7F2-64EB-4F0E-8981-FE91F68A2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62021"/>
              </p:ext>
            </p:extLst>
          </p:nvPr>
        </p:nvGraphicFramePr>
        <p:xfrm>
          <a:off x="5853832" y="1228055"/>
          <a:ext cx="4770021" cy="2653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4ED4C38-AA0C-46B2-8EFC-AF52BAB99492}"/>
              </a:ext>
            </a:extLst>
          </p:cNvPr>
          <p:cNvSpPr/>
          <p:nvPr/>
        </p:nvSpPr>
        <p:spPr>
          <a:xfrm>
            <a:off x="8838165" y="5637003"/>
            <a:ext cx="740650" cy="661852"/>
          </a:xfrm>
          <a:prstGeom prst="roundRect">
            <a:avLst/>
          </a:prstGeom>
          <a:noFill/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4B5841B-886F-4EDB-BC13-D0DA700923D1}"/>
              </a:ext>
            </a:extLst>
          </p:cNvPr>
          <p:cNvGrpSpPr/>
          <p:nvPr/>
        </p:nvGrpSpPr>
        <p:grpSpPr>
          <a:xfrm>
            <a:off x="1847894" y="4837290"/>
            <a:ext cx="2887662" cy="1035514"/>
            <a:chOff x="1847894" y="3213969"/>
            <a:chExt cx="2887662" cy="1035514"/>
          </a:xfrm>
        </p:grpSpPr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FFC3FCC0-4271-431C-8CBC-8F357E7879D9}"/>
                </a:ext>
              </a:extLst>
            </p:cNvPr>
            <p:cNvSpPr txBox="1"/>
            <p:nvPr/>
          </p:nvSpPr>
          <p:spPr>
            <a:xfrm>
              <a:off x="1847894" y="3213969"/>
              <a:ext cx="861133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sz="2400" b="1" dirty="0">
                  <a:solidFill>
                    <a:srgbClr val="404040"/>
                  </a:solidFill>
                </a:rPr>
                <a:t>Insight</a:t>
              </a:r>
            </a:p>
          </p:txBody>
        </p:sp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2472BCD4-9082-43E9-812D-73EAB9FC4653}"/>
                </a:ext>
              </a:extLst>
            </p:cNvPr>
            <p:cNvSpPr txBox="1"/>
            <p:nvPr/>
          </p:nvSpPr>
          <p:spPr>
            <a:xfrm>
              <a:off x="1847894" y="3633930"/>
              <a:ext cx="288766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NL"/>
              </a:defPPr>
              <a:lvl1pPr>
                <a:defRPr sz="16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US" sz="2000" dirty="0"/>
                <a:t>CD relies on the ability to cluster a dataset</a:t>
              </a:r>
            </a:p>
          </p:txBody>
        </p:sp>
      </p:grpSp>
      <p:pic>
        <p:nvPicPr>
          <p:cNvPr id="41" name="Picture 40" descr="Icon&#10;&#10;Description automatically generated">
            <a:extLst>
              <a:ext uri="{FF2B5EF4-FFF2-40B4-BE49-F238E27FC236}">
                <a16:creationId xmlns:a16="http://schemas.microsoft.com/office/drawing/2014/main" id="{B5B5B538-7501-4463-81EE-2DE5DF96C1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414" y="5128184"/>
            <a:ext cx="418328" cy="41832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434FB-B2B3-49F4-A1E7-C923AC34B9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25762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FC94262-0159-420C-8721-6446EA6859B8}"/>
              </a:ext>
            </a:extLst>
          </p:cNvPr>
          <p:cNvSpPr/>
          <p:nvPr/>
        </p:nvSpPr>
        <p:spPr>
          <a:xfrm>
            <a:off x="604668" y="3556725"/>
            <a:ext cx="4565250" cy="9381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BD74F046-321A-4278-9226-2174C437A541}"/>
              </a:ext>
            </a:extLst>
          </p:cNvPr>
          <p:cNvSpPr/>
          <p:nvPr/>
        </p:nvSpPr>
        <p:spPr>
          <a:xfrm>
            <a:off x="1049589" y="2313852"/>
            <a:ext cx="5102914" cy="9381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2059EDC-BF75-4559-AFF2-56767C9970C0}"/>
              </a:ext>
            </a:extLst>
          </p:cNvPr>
          <p:cNvGrpSpPr/>
          <p:nvPr/>
        </p:nvGrpSpPr>
        <p:grpSpPr>
          <a:xfrm>
            <a:off x="1883802" y="1683587"/>
            <a:ext cx="3086550" cy="430887"/>
            <a:chOff x="1871792" y="1639236"/>
            <a:chExt cx="2715647" cy="430887"/>
          </a:xfrm>
        </p:grpSpPr>
        <p:sp>
          <p:nvSpPr>
            <p:cNvPr id="29" name="TextBox 191">
              <a:extLst>
                <a:ext uri="{FF2B5EF4-FFF2-40B4-BE49-F238E27FC236}">
                  <a16:creationId xmlns:a16="http://schemas.microsoft.com/office/drawing/2014/main" id="{88FCD6FD-52CC-4200-A220-71C7FE1BA8CC}"/>
                </a:ext>
              </a:extLst>
            </p:cNvPr>
            <p:cNvSpPr txBox="1"/>
            <p:nvPr/>
          </p:nvSpPr>
          <p:spPr>
            <a:xfrm>
              <a:off x="2067387" y="1639236"/>
              <a:ext cx="245134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Query parameter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0D2183-8409-4E69-9353-E90950898CE3}"/>
                </a:ext>
              </a:extLst>
            </p:cNvPr>
            <p:cNvCxnSpPr>
              <a:cxnSpLocks/>
            </p:cNvCxnSpPr>
            <p:nvPr/>
          </p:nvCxnSpPr>
          <p:spPr>
            <a:xfrm>
              <a:off x="1871792" y="2070123"/>
              <a:ext cx="2715647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20C3AF0-208A-4C67-8467-3D4F80CECFFA}"/>
              </a:ext>
            </a:extLst>
          </p:cNvPr>
          <p:cNvGrpSpPr/>
          <p:nvPr/>
        </p:nvGrpSpPr>
        <p:grpSpPr>
          <a:xfrm>
            <a:off x="7856913" y="1683587"/>
            <a:ext cx="2228976" cy="430887"/>
            <a:chOff x="2124485" y="1639236"/>
            <a:chExt cx="1961125" cy="430887"/>
          </a:xfrm>
        </p:grpSpPr>
        <p:sp>
          <p:nvSpPr>
            <p:cNvPr id="32" name="TextBox 191">
              <a:extLst>
                <a:ext uri="{FF2B5EF4-FFF2-40B4-BE49-F238E27FC236}">
                  <a16:creationId xmlns:a16="http://schemas.microsoft.com/office/drawing/2014/main" id="{9AFDB611-14FC-457C-9F59-A004CA7A1DCC}"/>
                </a:ext>
              </a:extLst>
            </p:cNvPr>
            <p:cNvSpPr txBox="1"/>
            <p:nvPr/>
          </p:nvSpPr>
          <p:spPr>
            <a:xfrm>
              <a:off x="2414039" y="1639236"/>
              <a:ext cx="146705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Extension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99BC814-2C9F-43F4-AE06-F96CD4EC20C9}"/>
                </a:ext>
              </a:extLst>
            </p:cNvPr>
            <p:cNvCxnSpPr>
              <a:cxnSpLocks/>
            </p:cNvCxnSpPr>
            <p:nvPr/>
          </p:nvCxnSpPr>
          <p:spPr>
            <a:xfrm>
              <a:off x="2124485" y="2044909"/>
              <a:ext cx="1961125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367310-9180-410B-9347-F2678C5B40EF}"/>
              </a:ext>
            </a:extLst>
          </p:cNvPr>
          <p:cNvGrpSpPr/>
          <p:nvPr/>
        </p:nvGrpSpPr>
        <p:grpSpPr>
          <a:xfrm>
            <a:off x="6769584" y="4300435"/>
            <a:ext cx="4532421" cy="801212"/>
            <a:chOff x="7045809" y="4300435"/>
            <a:chExt cx="4532421" cy="801212"/>
          </a:xfrm>
        </p:grpSpPr>
        <p:sp>
          <p:nvSpPr>
            <p:cNvPr id="35" name="TextBox 192">
              <a:extLst>
                <a:ext uri="{FF2B5EF4-FFF2-40B4-BE49-F238E27FC236}">
                  <a16:creationId xmlns:a16="http://schemas.microsoft.com/office/drawing/2014/main" id="{A8F39D5C-B430-4B7E-B5AD-D774ED261C80}"/>
                </a:ext>
              </a:extLst>
            </p:cNvPr>
            <p:cNvSpPr txBox="1"/>
            <p:nvPr/>
          </p:nvSpPr>
          <p:spPr>
            <a:xfrm>
              <a:off x="8044498" y="4422504"/>
              <a:ext cx="353373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Streaming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ith sub-second responses</a:t>
              </a:r>
            </a:p>
          </p:txBody>
        </p:sp>
        <p:grpSp>
          <p:nvGrpSpPr>
            <p:cNvPr id="36" name="Group 10">
              <a:extLst>
                <a:ext uri="{FF2B5EF4-FFF2-40B4-BE49-F238E27FC236}">
                  <a16:creationId xmlns:a16="http://schemas.microsoft.com/office/drawing/2014/main" id="{BA32E8C4-712A-4363-BD34-B6A6629BF11A}"/>
                </a:ext>
              </a:extLst>
            </p:cNvPr>
            <p:cNvGrpSpPr/>
            <p:nvPr/>
          </p:nvGrpSpPr>
          <p:grpSpPr>
            <a:xfrm>
              <a:off x="7045809" y="4300435"/>
              <a:ext cx="811103" cy="801212"/>
              <a:chOff x="4279221" y="2033354"/>
              <a:chExt cx="1412875" cy="1395646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F7B90682-2AC4-4F6E-ABEF-13EB1C78F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7C064308-AE55-4A74-BDCE-08E58FFEC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37" name="Picture 36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8281F937-EF76-4EDE-B71C-30D925300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94" b="26349"/>
            <a:stretch/>
          </p:blipFill>
          <p:spPr>
            <a:xfrm>
              <a:off x="7224269" y="4575586"/>
              <a:ext cx="490981" cy="23595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E0043C-1D2F-4297-A30B-44B88D685293}"/>
              </a:ext>
            </a:extLst>
          </p:cNvPr>
          <p:cNvGrpSpPr/>
          <p:nvPr/>
        </p:nvGrpSpPr>
        <p:grpSpPr>
          <a:xfrm>
            <a:off x="6769584" y="2779256"/>
            <a:ext cx="4913819" cy="801212"/>
            <a:chOff x="7045809" y="2779256"/>
            <a:chExt cx="4913819" cy="801212"/>
          </a:xfrm>
        </p:grpSpPr>
        <p:sp>
          <p:nvSpPr>
            <p:cNvPr id="41" name="TextBox 191">
              <a:extLst>
                <a:ext uri="{FF2B5EF4-FFF2-40B4-BE49-F238E27FC236}">
                  <a16:creationId xmlns:a16="http://schemas.microsoft.com/office/drawing/2014/main" id="{89F50E40-5481-47C0-976C-CCC5BBB8769B}"/>
                </a:ext>
              </a:extLst>
            </p:cNvPr>
            <p:cNvSpPr txBox="1"/>
            <p:nvPr/>
          </p:nvSpPr>
          <p:spPr>
            <a:xfrm>
              <a:off x="8091324" y="2883847"/>
              <a:ext cx="3868304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Progressiv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peed-up through </a:t>
              </a:r>
              <a:r>
                <a:rPr lang="en-US" sz="2000" i="1" u="sng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ioritization</a:t>
              </a:r>
              <a:endParaRPr lang="en-US" sz="20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grpSp>
          <p:nvGrpSpPr>
            <p:cNvPr id="42" name="Group 10">
              <a:extLst>
                <a:ext uri="{FF2B5EF4-FFF2-40B4-BE49-F238E27FC236}">
                  <a16:creationId xmlns:a16="http://schemas.microsoft.com/office/drawing/2014/main" id="{54B73C39-02ED-4986-A514-57C3F1D2F901}"/>
                </a:ext>
              </a:extLst>
            </p:cNvPr>
            <p:cNvGrpSpPr/>
            <p:nvPr/>
          </p:nvGrpSpPr>
          <p:grpSpPr>
            <a:xfrm>
              <a:off x="7045809" y="2779256"/>
              <a:ext cx="811103" cy="801212"/>
              <a:chOff x="4279221" y="2033354"/>
              <a:chExt cx="1412875" cy="1395646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2F34857F-354C-4F9C-B1F5-034FB5E6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0F44C66D-1C12-488A-A66C-A58F670D3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43" name="Picture 42" descr="Icon&#10;&#10;Description automatically generated">
              <a:extLst>
                <a:ext uri="{FF2B5EF4-FFF2-40B4-BE49-F238E27FC236}">
                  <a16:creationId xmlns:a16="http://schemas.microsoft.com/office/drawing/2014/main" id="{27392CF2-0523-4950-A1CA-441A1D312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0866" y="2899895"/>
              <a:ext cx="537785" cy="537785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9A92A8-A0A5-4DAE-B98F-9B3E3243049A}"/>
              </a:ext>
            </a:extLst>
          </p:cNvPr>
          <p:cNvGrpSpPr/>
          <p:nvPr/>
        </p:nvGrpSpPr>
        <p:grpSpPr>
          <a:xfrm>
            <a:off x="1155689" y="4913008"/>
            <a:ext cx="4940311" cy="801212"/>
            <a:chOff x="1155689" y="4913008"/>
            <a:chExt cx="4940311" cy="80121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7C0595D-1FC8-45CB-A072-5E405103F30F}"/>
                </a:ext>
              </a:extLst>
            </p:cNvPr>
            <p:cNvGrpSpPr/>
            <p:nvPr/>
          </p:nvGrpSpPr>
          <p:grpSpPr>
            <a:xfrm>
              <a:off x="1155689" y="4913008"/>
              <a:ext cx="4940311" cy="801212"/>
              <a:chOff x="1155689" y="4446085"/>
              <a:chExt cx="4940311" cy="801212"/>
            </a:xfrm>
          </p:grpSpPr>
          <p:sp>
            <p:nvSpPr>
              <p:cNvPr id="49" name="TextBox 193">
                <a:extLst>
                  <a:ext uri="{FF2B5EF4-FFF2-40B4-BE49-F238E27FC236}">
                    <a16:creationId xmlns:a16="http://schemas.microsoft.com/office/drawing/2014/main" id="{6E8E93AD-49FD-44EA-8D45-5C46E4E7593A}"/>
                  </a:ext>
                </a:extLst>
              </p:cNvPr>
              <p:cNvSpPr txBox="1"/>
              <p:nvPr/>
            </p:nvSpPr>
            <p:spPr>
              <a:xfrm>
                <a:off x="2201204" y="4568154"/>
                <a:ext cx="3894796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dditional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constraints 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(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ptional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.g., only low pairwise correlations</a:t>
                </a:r>
              </a:p>
            </p:txBody>
          </p:sp>
          <p:grpSp>
            <p:nvGrpSpPr>
              <p:cNvPr id="50" name="Group 10">
                <a:extLst>
                  <a:ext uri="{FF2B5EF4-FFF2-40B4-BE49-F238E27FC236}">
                    <a16:creationId xmlns:a16="http://schemas.microsoft.com/office/drawing/2014/main" id="{63A7198F-C5D2-4956-8C40-7FB30EB1146F}"/>
                  </a:ext>
                </a:extLst>
              </p:cNvPr>
              <p:cNvGrpSpPr/>
              <p:nvPr/>
            </p:nvGrpSpPr>
            <p:grpSpPr>
              <a:xfrm>
                <a:off x="1155689" y="4446085"/>
                <a:ext cx="811103" cy="801212"/>
                <a:chOff x="4279221" y="2033354"/>
                <a:chExt cx="1412875" cy="1395646"/>
              </a:xfrm>
            </p:grpSpPr>
            <p:sp>
              <p:nvSpPr>
                <p:cNvPr id="51" name="Freeform 5">
                  <a:extLst>
                    <a:ext uri="{FF2B5EF4-FFF2-40B4-BE49-F238E27FC236}">
                      <a16:creationId xmlns:a16="http://schemas.microsoft.com/office/drawing/2014/main" id="{8E5A7810-0C48-405E-BF23-4C98720ECB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B9CFECEC-5660-4D9D-ABD7-3E8553191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5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</p:grpSp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E8DF6AEC-AD33-4DA2-9F43-F3292E677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860" y="5139662"/>
              <a:ext cx="371754" cy="37175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686C113-425C-42D3-B635-EB1E3486325D}"/>
              </a:ext>
            </a:extLst>
          </p:cNvPr>
          <p:cNvGrpSpPr/>
          <p:nvPr/>
        </p:nvGrpSpPr>
        <p:grpSpPr>
          <a:xfrm>
            <a:off x="752476" y="3645829"/>
            <a:ext cx="3918913" cy="801212"/>
            <a:chOff x="752476" y="3645829"/>
            <a:chExt cx="3918913" cy="801212"/>
          </a:xfrm>
        </p:grpSpPr>
        <p:grpSp>
          <p:nvGrpSpPr>
            <p:cNvPr id="54" name="Group 10">
              <a:extLst>
                <a:ext uri="{FF2B5EF4-FFF2-40B4-BE49-F238E27FC236}">
                  <a16:creationId xmlns:a16="http://schemas.microsoft.com/office/drawing/2014/main" id="{F2EDD889-ACB7-48FF-AC39-D106571DA7AD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DB77FE5E-C934-4FEE-AE02-A3D00565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6E546A91-62D2-4F9E-AC0B-3C38CE00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679965B-67DB-410E-9C97-F2187101A72C}"/>
                </a:ext>
              </a:extLst>
            </p:cNvPr>
            <p:cNvGrpSpPr/>
            <p:nvPr/>
          </p:nvGrpSpPr>
          <p:grpSpPr>
            <a:xfrm>
              <a:off x="990559" y="3748432"/>
              <a:ext cx="3680830" cy="615553"/>
              <a:chOff x="990559" y="3748432"/>
              <a:chExt cx="3680830" cy="615553"/>
            </a:xfrm>
          </p:grpSpPr>
          <p:sp>
            <p:nvSpPr>
              <p:cNvPr id="56" name="TextBox 192">
                <a:extLst>
                  <a:ext uri="{FF2B5EF4-FFF2-40B4-BE49-F238E27FC236}">
                    <a16:creationId xmlns:a16="http://schemas.microsoft.com/office/drawing/2014/main" id="{F04F5B4D-A665-4705-898D-F02DEC027DBF}"/>
                  </a:ext>
                </a:extLst>
              </p:cNvPr>
              <p:cNvSpPr txBox="1"/>
              <p:nvPr/>
            </p:nvSpPr>
            <p:spPr>
              <a:xfrm>
                <a:off x="1751165" y="3748432"/>
                <a:ext cx="2920224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Query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Typ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[Threshold query, Top-k]</a:t>
                </a:r>
              </a:p>
            </p:txBody>
          </p:sp>
          <p:pic>
            <p:nvPicPr>
              <p:cNvPr id="57" name="Picture 56" descr="Icon&#10;&#10;Description automatically generated">
                <a:extLst>
                  <a:ext uri="{FF2B5EF4-FFF2-40B4-BE49-F238E27FC236}">
                    <a16:creationId xmlns:a16="http://schemas.microsoft.com/office/drawing/2014/main" id="{D6855702-9DCF-412B-8718-510D32AF4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0559" y="3821749"/>
                <a:ext cx="408107" cy="408107"/>
              </a:xfrm>
              <a:prstGeom prst="rect">
                <a:avLst/>
              </a:prstGeom>
            </p:spPr>
          </p:pic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056BF69-45AC-4700-9032-C52A1DDC9EDD}"/>
              </a:ext>
            </a:extLst>
          </p:cNvPr>
          <p:cNvGrpSpPr/>
          <p:nvPr/>
        </p:nvGrpSpPr>
        <p:grpSpPr>
          <a:xfrm>
            <a:off x="1155689" y="2378650"/>
            <a:ext cx="4940311" cy="801212"/>
            <a:chOff x="1155689" y="2378650"/>
            <a:chExt cx="4940311" cy="801212"/>
          </a:xfrm>
        </p:grpSpPr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6B650610-43ED-4682-A846-3430024547F2}"/>
                </a:ext>
              </a:extLst>
            </p:cNvPr>
            <p:cNvSpPr txBox="1"/>
            <p:nvPr/>
          </p:nvSpPr>
          <p:spPr>
            <a:xfrm>
              <a:off x="2201204" y="2461787"/>
              <a:ext cx="389479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</a:t>
              </a:r>
              <a:r>
                <a:rPr lang="en-US" sz="2000" b="1" dirty="0">
                  <a:solidFill>
                    <a:srgbClr val="C00000"/>
                  </a:solidFill>
                </a:rPr>
                <a:t>Measur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[Aggregated Pearson, Multipoles]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3A7C25D-354A-4FB9-B109-115C939B2E85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1155689" y="2378650"/>
              <a:chExt cx="811103" cy="801212"/>
            </a:xfrm>
          </p:grpSpPr>
          <p:grpSp>
            <p:nvGrpSpPr>
              <p:cNvPr id="63" name="Group 10">
                <a:extLst>
                  <a:ext uri="{FF2B5EF4-FFF2-40B4-BE49-F238E27FC236}">
                    <a16:creationId xmlns:a16="http://schemas.microsoft.com/office/drawing/2014/main" id="{D787A14B-A949-4056-A7F1-71F13F848AC0}"/>
                  </a:ext>
                </a:extLst>
              </p:cNvPr>
              <p:cNvGrpSpPr/>
              <p:nvPr/>
            </p:nvGrpSpPr>
            <p:grpSpPr>
              <a:xfrm>
                <a:off x="1155689" y="2378650"/>
                <a:ext cx="811103" cy="801212"/>
                <a:chOff x="4279221" y="2033354"/>
                <a:chExt cx="1412875" cy="1395646"/>
              </a:xfrm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0BE39211-AE6C-4626-BC73-2C5F0ADB7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1E47FC9A-B66A-459B-BD52-E7707F73A9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4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C8191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  <p:pic>
            <p:nvPicPr>
              <p:cNvPr id="64" name="Picture 63" descr="A picture containing text, piano&#10;&#10;Description automatically generated">
                <a:extLst>
                  <a:ext uri="{FF2B5EF4-FFF2-40B4-BE49-F238E27FC236}">
                    <a16:creationId xmlns:a16="http://schemas.microsoft.com/office/drawing/2014/main" id="{F5818DB4-0BA0-4CEF-A06F-6C4753D2A3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0483" y="2572879"/>
                <a:ext cx="393371" cy="393371"/>
              </a:xfrm>
              <a:prstGeom prst="rect">
                <a:avLst/>
              </a:prstGeom>
            </p:spPr>
          </p:pic>
        </p:grp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DAADC15C-D2CD-47AB-8110-ED4C9E326129}"/>
              </a:ext>
            </a:extLst>
          </p:cNvPr>
          <p:cNvSpPr txBox="1"/>
          <p:nvPr/>
        </p:nvSpPr>
        <p:spPr>
          <a:xfrm>
            <a:off x="874713" y="318367"/>
            <a:ext cx="1601400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ape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CDC9968-1315-4075-8CC2-B06A4141472E}"/>
              </a:ext>
            </a:extLst>
          </p:cNvPr>
          <p:cNvSpPr txBox="1"/>
          <p:nvPr/>
        </p:nvSpPr>
        <p:spPr>
          <a:xfrm>
            <a:off x="874713" y="1074167"/>
            <a:ext cx="80470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co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24B2E5-A02B-4807-AEB4-F4790DC8B4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8422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69" grpId="0" animBg="1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586F88C1-5288-4336-88A6-C672AA23305C}"/>
              </a:ext>
            </a:extLst>
          </p:cNvPr>
          <p:cNvGrpSpPr/>
          <p:nvPr/>
        </p:nvGrpSpPr>
        <p:grpSpPr>
          <a:xfrm>
            <a:off x="1155689" y="4907587"/>
            <a:ext cx="6566917" cy="1301784"/>
            <a:chOff x="1155689" y="4446085"/>
            <a:chExt cx="6566917" cy="1301784"/>
          </a:xfrm>
        </p:grpSpPr>
        <p:sp>
          <p:nvSpPr>
            <p:cNvPr id="300" name="TextBox 193">
              <a:extLst>
                <a:ext uri="{FF2B5EF4-FFF2-40B4-BE49-F238E27FC236}">
                  <a16:creationId xmlns:a16="http://schemas.microsoft.com/office/drawing/2014/main" id="{FB56CC43-507A-42C2-9E2F-A9475FBBBD75}"/>
                </a:ext>
              </a:extLst>
            </p:cNvPr>
            <p:cNvSpPr txBox="1"/>
            <p:nvPr/>
          </p:nvSpPr>
          <p:spPr>
            <a:xfrm>
              <a:off x="2201204" y="4516763"/>
              <a:ext cx="5521402" cy="12311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rgbClr val="C00000"/>
                  </a:solidFill>
                </a:rPr>
                <a:t>Approximat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 results, no completeness guarante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prioritize combinations/cliques based on heuristic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[2017, 2020]</a:t>
              </a:r>
            </a:p>
          </p:txBody>
        </p:sp>
        <p:grpSp>
          <p:nvGrpSpPr>
            <p:cNvPr id="301" name="Group 10">
              <a:extLst>
                <a:ext uri="{FF2B5EF4-FFF2-40B4-BE49-F238E27FC236}">
                  <a16:creationId xmlns:a16="http://schemas.microsoft.com/office/drawing/2014/main" id="{4191FB5F-EE03-444C-ACBC-19B5055F6CF0}"/>
                </a:ext>
              </a:extLst>
            </p:cNvPr>
            <p:cNvGrpSpPr/>
            <p:nvPr/>
          </p:nvGrpSpPr>
          <p:grpSpPr>
            <a:xfrm>
              <a:off x="1155689" y="4446085"/>
              <a:ext cx="811103" cy="801212"/>
              <a:chOff x="4279221" y="2033354"/>
              <a:chExt cx="1412875" cy="1395646"/>
            </a:xfrm>
          </p:grpSpPr>
          <p:sp>
            <p:nvSpPr>
              <p:cNvPr id="302" name="Freeform 5">
                <a:extLst>
                  <a:ext uri="{FF2B5EF4-FFF2-40B4-BE49-F238E27FC236}">
                    <a16:creationId xmlns:a16="http://schemas.microsoft.com/office/drawing/2014/main" id="{0ED9EE66-6FBF-456C-A6F3-7805F3076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03" name="Freeform 6">
                <a:extLst>
                  <a:ext uri="{FF2B5EF4-FFF2-40B4-BE49-F238E27FC236}">
                    <a16:creationId xmlns:a16="http://schemas.microsoft.com/office/drawing/2014/main" id="{F3419C0D-E4DB-4355-A269-3E8D42BE5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4668621A-D391-4A8C-8279-1DDE40AE3D3D}"/>
              </a:ext>
            </a:extLst>
          </p:cNvPr>
          <p:cNvGrpSpPr/>
          <p:nvPr/>
        </p:nvGrpSpPr>
        <p:grpSpPr>
          <a:xfrm>
            <a:off x="752476" y="3515042"/>
            <a:ext cx="4981573" cy="924970"/>
            <a:chOff x="752476" y="3645829"/>
            <a:chExt cx="4981573" cy="924970"/>
          </a:xfrm>
        </p:grpSpPr>
        <p:grpSp>
          <p:nvGrpSpPr>
            <p:cNvPr id="305" name="Group 10">
              <a:extLst>
                <a:ext uri="{FF2B5EF4-FFF2-40B4-BE49-F238E27FC236}">
                  <a16:creationId xmlns:a16="http://schemas.microsoft.com/office/drawing/2014/main" id="{4CF66377-17CF-47C8-897E-95A4FE43F044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309" name="Freeform 5">
                <a:extLst>
                  <a:ext uri="{FF2B5EF4-FFF2-40B4-BE49-F238E27FC236}">
                    <a16:creationId xmlns:a16="http://schemas.microsoft.com/office/drawing/2014/main" id="{484F669E-FE33-46B0-A730-8F8BC09186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44" name="Freeform 6">
                <a:extLst>
                  <a:ext uri="{FF2B5EF4-FFF2-40B4-BE49-F238E27FC236}">
                    <a16:creationId xmlns:a16="http://schemas.microsoft.com/office/drawing/2014/main" id="{0B263DA4-1D1B-47E4-B61A-3EEFF4562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307" name="TextBox 192">
              <a:extLst>
                <a:ext uri="{FF2B5EF4-FFF2-40B4-BE49-F238E27FC236}">
                  <a16:creationId xmlns:a16="http://schemas.microsoft.com/office/drawing/2014/main" id="{CE28D623-71CB-4578-801B-454F992462E3}"/>
                </a:ext>
              </a:extLst>
            </p:cNvPr>
            <p:cNvSpPr txBox="1"/>
            <p:nvPr/>
          </p:nvSpPr>
          <p:spPr>
            <a:xfrm>
              <a:off x="1751164" y="3678247"/>
              <a:ext cx="3982885" cy="8925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articular </a:t>
              </a:r>
              <a:r>
                <a:rPr lang="en-US" sz="2000" b="1" dirty="0">
                  <a:solidFill>
                    <a:srgbClr val="C00000"/>
                  </a:solidFill>
                </a:rPr>
                <a:t>data typ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only binary data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[2017, 2020], Zhang 2008</a:t>
              </a:r>
            </a:p>
          </p:txBody>
        </p:sp>
      </p:grpSp>
      <p:grpSp>
        <p:nvGrpSpPr>
          <p:cNvPr id="345" name="Group 344">
            <a:extLst>
              <a:ext uri="{FF2B5EF4-FFF2-40B4-BE49-F238E27FC236}">
                <a16:creationId xmlns:a16="http://schemas.microsoft.com/office/drawing/2014/main" id="{DDB9C20B-6942-4208-A785-309118FC4D10}"/>
              </a:ext>
            </a:extLst>
          </p:cNvPr>
          <p:cNvGrpSpPr/>
          <p:nvPr/>
        </p:nvGrpSpPr>
        <p:grpSpPr>
          <a:xfrm>
            <a:off x="1155689" y="2095023"/>
            <a:ext cx="7219960" cy="982161"/>
            <a:chOff x="1155689" y="2378650"/>
            <a:chExt cx="7219960" cy="982161"/>
          </a:xfrm>
        </p:grpSpPr>
        <p:sp>
          <p:nvSpPr>
            <p:cNvPr id="346" name="TextBox 191">
              <a:extLst>
                <a:ext uri="{FF2B5EF4-FFF2-40B4-BE49-F238E27FC236}">
                  <a16:creationId xmlns:a16="http://schemas.microsoft.com/office/drawing/2014/main" id="{A7D2E69F-4010-4BE4-B763-07CF3EDB8360}"/>
                </a:ext>
              </a:extLst>
            </p:cNvPr>
            <p:cNvSpPr txBox="1"/>
            <p:nvPr/>
          </p:nvSpPr>
          <p:spPr>
            <a:xfrm>
              <a:off x="2201204" y="2437481"/>
              <a:ext cx="6174445" cy="92333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blem statements that support </a:t>
              </a:r>
              <a:r>
                <a:rPr lang="en-US" sz="2000" b="1" dirty="0" err="1">
                  <a:solidFill>
                    <a:srgbClr val="C00000"/>
                  </a:solidFill>
                </a:rPr>
                <a:t>Apriori</a:t>
              </a:r>
              <a:r>
                <a:rPr lang="en-US" sz="2000" b="1" dirty="0">
                  <a:solidFill>
                    <a:srgbClr val="C00000"/>
                  </a:solidFill>
                </a:rPr>
                <a:t> filter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.g. require subset correlations to be high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grawal 2017, Nguyen 2014, Zhang 2008</a:t>
              </a:r>
            </a:p>
          </p:txBody>
        </p:sp>
        <p:grpSp>
          <p:nvGrpSpPr>
            <p:cNvPr id="348" name="Group 10">
              <a:extLst>
                <a:ext uri="{FF2B5EF4-FFF2-40B4-BE49-F238E27FC236}">
                  <a16:creationId xmlns:a16="http://schemas.microsoft.com/office/drawing/2014/main" id="{7E16E242-5C35-487A-9723-E08FEFAA4591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4279221" y="2033354"/>
              <a:chExt cx="1412875" cy="1395646"/>
            </a:xfrm>
          </p:grpSpPr>
          <p:sp>
            <p:nvSpPr>
              <p:cNvPr id="350" name="Freeform 5">
                <a:extLst>
                  <a:ext uri="{FF2B5EF4-FFF2-40B4-BE49-F238E27FC236}">
                    <a16:creationId xmlns:a16="http://schemas.microsoft.com/office/drawing/2014/main" id="{4B3C36D1-091D-4140-B347-8CF0AFC7D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51" name="Freeform 6">
                <a:extLst>
                  <a:ext uri="{FF2B5EF4-FFF2-40B4-BE49-F238E27FC236}">
                    <a16:creationId xmlns:a16="http://schemas.microsoft.com/office/drawing/2014/main" id="{5C5E44F0-E170-4605-B9AC-B9F6EF8C5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367" name="Picture 366" descr="Icon&#10;&#10;Description automatically generated">
            <a:extLst>
              <a:ext uri="{FF2B5EF4-FFF2-40B4-BE49-F238E27FC236}">
                <a16:creationId xmlns:a16="http://schemas.microsoft.com/office/drawing/2014/main" id="{A4E20905-4B1B-4BCF-9566-A4A82B5B06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346" y="5056033"/>
            <a:ext cx="537785" cy="537785"/>
          </a:xfrm>
          <a:prstGeom prst="rect">
            <a:avLst/>
          </a:prstGeom>
        </p:spPr>
      </p:pic>
      <p:pic>
        <p:nvPicPr>
          <p:cNvPr id="368" name="Picture 367" descr="Icon&#10;&#10;Description automatically generated">
            <a:extLst>
              <a:ext uri="{FF2B5EF4-FFF2-40B4-BE49-F238E27FC236}">
                <a16:creationId xmlns:a16="http://schemas.microsoft.com/office/drawing/2014/main" id="{F4E5D48C-FB22-4E58-9D2B-88389908C6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642" y="2321884"/>
            <a:ext cx="371754" cy="371754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C01BE4E-DF39-4013-9D5D-46C04089AB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95" y="3716427"/>
            <a:ext cx="398268" cy="3982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D364576-8878-4020-964A-F6B432E92916}"/>
              </a:ext>
            </a:extLst>
          </p:cNvPr>
          <p:cNvSpPr txBox="1"/>
          <p:nvPr/>
        </p:nvSpPr>
        <p:spPr>
          <a:xfrm>
            <a:off x="874713" y="318367"/>
            <a:ext cx="258404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ast wor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0CB810-E5E3-4C2A-97CA-20E607CF3A31}"/>
              </a:ext>
            </a:extLst>
          </p:cNvPr>
          <p:cNvSpPr txBox="1"/>
          <p:nvPr/>
        </p:nvSpPr>
        <p:spPr>
          <a:xfrm>
            <a:off x="874713" y="1074167"/>
            <a:ext cx="147316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imited to…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7E307-AC91-450C-8B2B-766BB8D44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6607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540A0F4-3647-464E-9476-EC161C3F20C2}"/>
              </a:ext>
            </a:extLst>
          </p:cNvPr>
          <p:cNvGrpSpPr/>
          <p:nvPr/>
        </p:nvGrpSpPr>
        <p:grpSpPr>
          <a:xfrm>
            <a:off x="574703" y="3190319"/>
            <a:ext cx="7745047" cy="3108853"/>
            <a:chOff x="1247004" y="2054367"/>
            <a:chExt cx="7745047" cy="3108853"/>
          </a:xfrm>
        </p:grpSpPr>
        <p:grpSp>
          <p:nvGrpSpPr>
            <p:cNvPr id="141" name="multipearson">
              <a:extLst>
                <a:ext uri="{FF2B5EF4-FFF2-40B4-BE49-F238E27FC236}">
                  <a16:creationId xmlns:a16="http://schemas.microsoft.com/office/drawing/2014/main" id="{43C9B5D9-548A-432C-BC6A-7B5F5A3EE5C9}"/>
                </a:ext>
              </a:extLst>
            </p:cNvPr>
            <p:cNvGrpSpPr/>
            <p:nvPr/>
          </p:nvGrpSpPr>
          <p:grpSpPr>
            <a:xfrm>
              <a:off x="1547014" y="2502480"/>
              <a:ext cx="6561524" cy="867994"/>
              <a:chOff x="1082434" y="3622115"/>
              <a:chExt cx="6561524" cy="867994"/>
            </a:xfrm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EE326169-59F3-4364-84A8-47E6559BC2B0}"/>
                  </a:ext>
                </a:extLst>
              </p:cNvPr>
              <p:cNvSpPr/>
              <p:nvPr/>
            </p:nvSpPr>
            <p:spPr>
              <a:xfrm>
                <a:off x="1082434" y="3622115"/>
                <a:ext cx="6561524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5" name="TextBox 191">
                <a:extLst>
                  <a:ext uri="{FF2B5EF4-FFF2-40B4-BE49-F238E27FC236}">
                    <a16:creationId xmlns:a16="http://schemas.microsoft.com/office/drawing/2014/main" id="{6AF36F21-6021-4420-9A78-59D2E9010489}"/>
                  </a:ext>
                </a:extLst>
              </p:cNvPr>
              <p:cNvSpPr txBox="1"/>
              <p:nvPr/>
            </p:nvSpPr>
            <p:spPr>
              <a:xfrm>
                <a:off x="1224180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74C34948-E733-4FCE-A89E-8E3AADE943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25114" y="4005314"/>
                <a:ext cx="0" cy="23775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avg">
              <a:extLst>
                <a:ext uri="{FF2B5EF4-FFF2-40B4-BE49-F238E27FC236}">
                  <a16:creationId xmlns:a16="http://schemas.microsoft.com/office/drawing/2014/main" id="{B816FFF7-4510-438C-89FD-BBA4146148E2}"/>
                </a:ext>
              </a:extLst>
            </p:cNvPr>
            <p:cNvGrpSpPr/>
            <p:nvPr/>
          </p:nvGrpSpPr>
          <p:grpSpPr>
            <a:xfrm>
              <a:off x="3154668" y="2564426"/>
              <a:ext cx="4953869" cy="809689"/>
              <a:chOff x="4317661" y="2395663"/>
              <a:chExt cx="4953869" cy="809689"/>
            </a:xfrm>
          </p:grpSpPr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B8E38BE1-561F-4131-9BCF-CA2C15E42CF8}"/>
                  </a:ext>
                </a:extLst>
              </p:cNvPr>
              <p:cNvSpPr/>
              <p:nvPr/>
            </p:nvSpPr>
            <p:spPr>
              <a:xfrm>
                <a:off x="4317661" y="2395663"/>
                <a:ext cx="4953869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2" name="TextBox 191">
                <a:extLst>
                  <a:ext uri="{FF2B5EF4-FFF2-40B4-BE49-F238E27FC236}">
                    <a16:creationId xmlns:a16="http://schemas.microsoft.com/office/drawing/2014/main" id="{3274A623-A883-4989-9076-A4FD654C5065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53" name="Connector: Elbow 152">
                <a:extLst>
                  <a:ext uri="{FF2B5EF4-FFF2-40B4-BE49-F238E27FC236}">
                    <a16:creationId xmlns:a16="http://schemas.microsoft.com/office/drawing/2014/main" id="{16194913-D62F-4190-ACB9-D1C268EC7EA2}"/>
                  </a:ext>
                </a:extLst>
              </p:cNvPr>
              <p:cNvCxnSpPr>
                <a:cxnSpLocks/>
                <a:endCxn id="152" idx="1"/>
              </p:cNvCxnSpPr>
              <p:nvPr/>
            </p:nvCxnSpPr>
            <p:spPr>
              <a:xfrm>
                <a:off x="4534106" y="2733934"/>
                <a:ext cx="1282808" cy="332919"/>
              </a:xfrm>
              <a:prstGeom prst="bentConnector3">
                <a:avLst>
                  <a:gd name="adj1" fmla="val 864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th query">
              <a:extLst>
                <a:ext uri="{FF2B5EF4-FFF2-40B4-BE49-F238E27FC236}">
                  <a16:creationId xmlns:a16="http://schemas.microsoft.com/office/drawing/2014/main" id="{8DA74E1A-4C19-4983-8C3B-D4DDDD851E60}"/>
                </a:ext>
              </a:extLst>
            </p:cNvPr>
            <p:cNvGrpSpPr/>
            <p:nvPr/>
          </p:nvGrpSpPr>
          <p:grpSpPr>
            <a:xfrm>
              <a:off x="2133904" y="4752137"/>
              <a:ext cx="3289725" cy="411083"/>
              <a:chOff x="86042" y="4503535"/>
              <a:chExt cx="3289725" cy="411083"/>
            </a:xfrm>
          </p:grpSpPr>
          <p:sp>
            <p:nvSpPr>
              <p:cNvPr id="148" name="Rectangle: Rounded Corners 147">
                <a:extLst>
                  <a:ext uri="{FF2B5EF4-FFF2-40B4-BE49-F238E27FC236}">
                    <a16:creationId xmlns:a16="http://schemas.microsoft.com/office/drawing/2014/main" id="{FE2BC8BA-DB2C-4200-83DE-970372058C80}"/>
                  </a:ext>
                </a:extLst>
              </p:cNvPr>
              <p:cNvSpPr/>
              <p:nvPr/>
            </p:nvSpPr>
            <p:spPr>
              <a:xfrm>
                <a:off x="86042" y="4503535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9" name="TextBox 191">
                <a:extLst>
                  <a:ext uri="{FF2B5EF4-FFF2-40B4-BE49-F238E27FC236}">
                    <a16:creationId xmlns:a16="http://schemas.microsoft.com/office/drawing/2014/main" id="{8AFF725A-575C-4F9D-91D3-575EDB622E16}"/>
                  </a:ext>
                </a:extLst>
              </p:cNvPr>
              <p:cNvSpPr txBox="1"/>
              <p:nvPr/>
            </p:nvSpPr>
            <p:spPr>
              <a:xfrm>
                <a:off x="1588104" y="4568517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6B826DD5-C03C-4233-9CE5-84D74897A96E}"/>
                  </a:ext>
                </a:extLst>
              </p:cNvPr>
              <p:cNvCxnSpPr>
                <a:cxnSpLocks/>
                <a:stCxn id="148" idx="3"/>
                <a:endCxn id="149" idx="1"/>
              </p:cNvCxnSpPr>
              <p:nvPr/>
            </p:nvCxnSpPr>
            <p:spPr>
              <a:xfrm flipV="1">
                <a:off x="1222147" y="4707017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5" name="corr patern">
              <a:extLst>
                <a:ext uri="{FF2B5EF4-FFF2-40B4-BE49-F238E27FC236}">
                  <a16:creationId xmlns:a16="http://schemas.microsoft.com/office/drawing/2014/main" id="{AE493C61-8A5B-4709-AED2-7AAC714BC057}"/>
                </a:ext>
              </a:extLst>
            </p:cNvPr>
            <p:cNvGrpSpPr/>
            <p:nvPr/>
          </p:nvGrpSpPr>
          <p:grpSpPr>
            <a:xfrm>
              <a:off x="3528436" y="2078265"/>
              <a:ext cx="4580102" cy="531012"/>
              <a:chOff x="3397958" y="1970778"/>
              <a:chExt cx="4580102" cy="531012"/>
            </a:xfrm>
          </p:grpSpPr>
          <p:sp>
            <p:nvSpPr>
              <p:cNvPr id="146" name="Right Brace 145">
                <a:extLst>
                  <a:ext uri="{FF2B5EF4-FFF2-40B4-BE49-F238E27FC236}">
                    <a16:creationId xmlns:a16="http://schemas.microsoft.com/office/drawing/2014/main" id="{592042D1-AB84-47D0-B74F-2E5C4BA56BFB}"/>
                  </a:ext>
                </a:extLst>
              </p:cNvPr>
              <p:cNvSpPr/>
              <p:nvPr/>
            </p:nvSpPr>
            <p:spPr>
              <a:xfrm rot="16200000">
                <a:off x="5578263" y="144421"/>
                <a:ext cx="177064" cy="4537674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7" name="TextBox 191">
                <a:extLst>
                  <a:ext uri="{FF2B5EF4-FFF2-40B4-BE49-F238E27FC236}">
                    <a16:creationId xmlns:a16="http://schemas.microsoft.com/office/drawing/2014/main" id="{3968AB8B-1C90-4E10-92ED-1D4E95D7ACB9}"/>
                  </a:ext>
                </a:extLst>
              </p:cNvPr>
              <p:cNvSpPr txBox="1"/>
              <p:nvPr/>
            </p:nvSpPr>
            <p:spPr>
              <a:xfrm>
                <a:off x="5870393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𝑔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𝐴𝑣𝑔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</a:t>
                  </a:r>
                  <a:b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</a:b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𝑣𝑒𝑐𝑡𝑜𝑟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𝐴𝑆</m:t>
                      </m:r>
                      <m:r>
                        <a:rPr lang="en-US" sz="2400" b="0" i="0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</m:oMath>
                  </a14:m>
                  <a:endParaRPr lang="en-US" sz="2400" i="1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blipFill>
                  <a:blip r:embed="rId3"/>
                  <a:stretch>
                    <a:fillRect l="-2360" t="-2947" b="-4912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5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/>
              <p:nvPr/>
            </p:nvSpPr>
            <p:spPr>
              <a:xfrm>
                <a:off x="9113719" y="1616067"/>
                <a:ext cx="2420293" cy="603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en-US" sz="2000" b="1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16067"/>
                <a:ext cx="2420293" cy="60349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𝑚𝑐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2,2</m:t>
                        </m:r>
                      </m:e>
                    </m:d>
                  </m:oMath>
                </a14:m>
                <a:r>
                  <a:rPr lang="en-US" sz="1400" dirty="0"/>
                  <a:t> 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8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1DE1E8-3431-424C-AA41-E1AD26E80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509671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B91F8F-7D00-4849-851B-101609E4AD1F}"/>
              </a:ext>
            </a:extLst>
          </p:cNvPr>
          <p:cNvGrpSpPr/>
          <p:nvPr/>
        </p:nvGrpSpPr>
        <p:grpSpPr>
          <a:xfrm>
            <a:off x="584525" y="1460636"/>
            <a:ext cx="7193361" cy="4797289"/>
            <a:chOff x="2285999" y="1548411"/>
            <a:chExt cx="7193361" cy="400330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1F6790E8-B4B4-4A55-B56B-08E467D992BF}"/>
                </a:ext>
              </a:extLst>
            </p:cNvPr>
            <p:cNvSpPr/>
            <p:nvPr/>
          </p:nvSpPr>
          <p:spPr>
            <a:xfrm>
              <a:off x="2285999" y="1548411"/>
              <a:ext cx="7193361" cy="40033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275" name="TextBox 191">
              <a:extLst>
                <a:ext uri="{FF2B5EF4-FFF2-40B4-BE49-F238E27FC236}">
                  <a16:creationId xmlns:a16="http://schemas.microsoft.com/office/drawing/2014/main" id="{767FAA3E-703F-4417-9EA4-993C4A5F1114}"/>
                </a:ext>
              </a:extLst>
            </p:cNvPr>
            <p:cNvSpPr txBox="1"/>
            <p:nvPr/>
          </p:nvSpPr>
          <p:spPr>
            <a:xfrm>
              <a:off x="4971484" y="1655721"/>
              <a:ext cx="182559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>
                  <a:solidFill>
                    <a:srgbClr val="404040"/>
                  </a:solidFill>
                </a:rPr>
                <a:t>Query</a:t>
              </a:r>
              <a:endParaRPr lang="en-US" sz="3200" b="0">
                <a:solidFill>
                  <a:srgbClr val="404040"/>
                </a:solidFill>
                <a:ea typeface="Cambria Math" panose="02040503050406030204" pitchFamily="18" charset="0"/>
              </a:endParaRPr>
            </a:p>
          </p:txBody>
        </p:sp>
      </p:grpSp>
      <p:grpSp>
        <p:nvGrpSpPr>
          <p:cNvPr id="31" name="multipearson">
            <a:extLst>
              <a:ext uri="{FF2B5EF4-FFF2-40B4-BE49-F238E27FC236}">
                <a16:creationId xmlns:a16="http://schemas.microsoft.com/office/drawing/2014/main" id="{4E855D8A-F261-4465-B341-E801A76810F6}"/>
              </a:ext>
            </a:extLst>
          </p:cNvPr>
          <p:cNvGrpSpPr/>
          <p:nvPr/>
        </p:nvGrpSpPr>
        <p:grpSpPr>
          <a:xfrm>
            <a:off x="2061410" y="2502480"/>
            <a:ext cx="5546819" cy="867994"/>
            <a:chOff x="1596830" y="3622115"/>
            <a:chExt cx="5546819" cy="867994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1CC48D6-3844-4035-8CAF-4ACD5C95CFDC}"/>
                </a:ext>
              </a:extLst>
            </p:cNvPr>
            <p:cNvSpPr/>
            <p:nvPr/>
          </p:nvSpPr>
          <p:spPr>
            <a:xfrm>
              <a:off x="1596830" y="3622115"/>
              <a:ext cx="5546819" cy="48029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33" name="TextBox 191">
              <a:extLst>
                <a:ext uri="{FF2B5EF4-FFF2-40B4-BE49-F238E27FC236}">
                  <a16:creationId xmlns:a16="http://schemas.microsoft.com/office/drawing/2014/main" id="{4BFEDF9A-9038-4991-A0AD-C765931D2FD3}"/>
                </a:ext>
              </a:extLst>
            </p:cNvPr>
            <p:cNvSpPr txBox="1"/>
            <p:nvPr/>
          </p:nvSpPr>
          <p:spPr>
            <a:xfrm>
              <a:off x="1695801" y="4213110"/>
              <a:ext cx="146590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Corr. measure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C8D5CA5-2931-4D3A-8C4B-E7D2CF9E944E}"/>
                </a:ext>
              </a:extLst>
            </p:cNvPr>
            <p:cNvCxnSpPr>
              <a:cxnSpLocks/>
            </p:cNvCxnSpPr>
            <p:nvPr/>
          </p:nvCxnSpPr>
          <p:spPr>
            <a:xfrm>
              <a:off x="1925114" y="4005314"/>
              <a:ext cx="0" cy="237752"/>
            </a:xfrm>
            <a:prstGeom prst="line">
              <a:avLst/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avg">
            <a:extLst>
              <a:ext uri="{FF2B5EF4-FFF2-40B4-BE49-F238E27FC236}">
                <a16:creationId xmlns:a16="http://schemas.microsoft.com/office/drawing/2014/main" id="{D37B7082-1C32-4759-B3F0-509B1A3AB2B8}"/>
              </a:ext>
            </a:extLst>
          </p:cNvPr>
          <p:cNvGrpSpPr/>
          <p:nvPr/>
        </p:nvGrpSpPr>
        <p:grpSpPr>
          <a:xfrm>
            <a:off x="3514719" y="2564426"/>
            <a:ext cx="3176255" cy="809689"/>
            <a:chOff x="4677712" y="2395663"/>
            <a:chExt cx="3176255" cy="809689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F1E0230-75FD-4D5A-8DBF-80D6F69C5903}"/>
                </a:ext>
              </a:extLst>
            </p:cNvPr>
            <p:cNvSpPr/>
            <p:nvPr/>
          </p:nvSpPr>
          <p:spPr>
            <a:xfrm>
              <a:off x="4677712" y="2395663"/>
              <a:ext cx="2823988" cy="321253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43" name="TextBox 191">
              <a:extLst>
                <a:ext uri="{FF2B5EF4-FFF2-40B4-BE49-F238E27FC236}">
                  <a16:creationId xmlns:a16="http://schemas.microsoft.com/office/drawing/2014/main" id="{C4690416-F183-4FF8-9FEA-0E6A254E4F02}"/>
                </a:ext>
              </a:extLst>
            </p:cNvPr>
            <p:cNvSpPr txBox="1"/>
            <p:nvPr/>
          </p:nvSpPr>
          <p:spPr>
            <a:xfrm>
              <a:off x="5816914" y="2928353"/>
              <a:ext cx="203705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Aggregation function</a:t>
              </a:r>
            </a:p>
          </p:txBody>
        </p: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CFE9AFDE-4192-4283-A1DA-9A8C34475E9E}"/>
                </a:ext>
              </a:extLst>
            </p:cNvPr>
            <p:cNvCxnSpPr>
              <a:cxnSpLocks/>
              <a:endCxn id="43" idx="1"/>
            </p:cNvCxnSpPr>
            <p:nvPr/>
          </p:nvCxnSpPr>
          <p:spPr>
            <a:xfrm>
              <a:off x="5122518" y="2842483"/>
              <a:ext cx="694396" cy="224370"/>
            </a:xfrm>
            <a:prstGeom prst="bentConnector3">
              <a:avLst>
                <a:gd name="adj1" fmla="val 1551"/>
              </a:avLst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th query">
            <a:extLst>
              <a:ext uri="{FF2B5EF4-FFF2-40B4-BE49-F238E27FC236}">
                <a16:creationId xmlns:a16="http://schemas.microsoft.com/office/drawing/2014/main" id="{90AD4273-7311-4CFA-92E6-0BD99CAC33E5}"/>
              </a:ext>
            </a:extLst>
          </p:cNvPr>
          <p:cNvGrpSpPr/>
          <p:nvPr/>
        </p:nvGrpSpPr>
        <p:grpSpPr>
          <a:xfrm>
            <a:off x="2133904" y="4397703"/>
            <a:ext cx="3289725" cy="411083"/>
            <a:chOff x="86042" y="4149101"/>
            <a:chExt cx="3289725" cy="411083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6A7A2239-630B-4B4C-ADE7-B7B60CC884BF}"/>
                </a:ext>
              </a:extLst>
            </p:cNvPr>
            <p:cNvSpPr/>
            <p:nvPr/>
          </p:nvSpPr>
          <p:spPr>
            <a:xfrm>
              <a:off x="86042" y="4149101"/>
              <a:ext cx="1136105" cy="411083"/>
            </a:xfrm>
            <a:prstGeom prst="roundRect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1" name="TextBox 191">
              <a:extLst>
                <a:ext uri="{FF2B5EF4-FFF2-40B4-BE49-F238E27FC236}">
                  <a16:creationId xmlns:a16="http://schemas.microsoft.com/office/drawing/2014/main" id="{68176EDB-7958-4A8B-9206-62AEC89FB3DA}"/>
                </a:ext>
              </a:extLst>
            </p:cNvPr>
            <p:cNvSpPr txBox="1"/>
            <p:nvPr/>
          </p:nvSpPr>
          <p:spPr>
            <a:xfrm>
              <a:off x="1588104" y="4214083"/>
              <a:ext cx="178766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Query type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43C98CF-F7D6-48D6-950A-7D6250067289}"/>
                </a:ext>
              </a:extLst>
            </p:cNvPr>
            <p:cNvCxnSpPr>
              <a:cxnSpLocks/>
              <a:stCxn id="80" idx="3"/>
              <a:endCxn id="81" idx="1"/>
            </p:cNvCxnSpPr>
            <p:nvPr/>
          </p:nvCxnSpPr>
          <p:spPr>
            <a:xfrm flipV="1">
              <a:off x="1222147" y="4352583"/>
              <a:ext cx="365957" cy="2060"/>
            </a:xfrm>
            <a:prstGeom prst="line">
              <a:avLst/>
            </a:prstGeom>
            <a:ln w="22225">
              <a:solidFill>
                <a:srgbClr val="7F7F7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191">
                <a:extLst>
                  <a:ext uri="{FF2B5EF4-FFF2-40B4-BE49-F238E27FC236}">
                    <a16:creationId xmlns:a16="http://schemas.microsoft.com/office/drawing/2014/main" id="{5C8F2392-77A2-488E-9933-535C2BB94E9A}"/>
                  </a:ext>
                </a:extLst>
              </p:cNvPr>
              <p:cNvSpPr txBox="1"/>
              <p:nvPr/>
            </p:nvSpPr>
            <p:spPr>
              <a:xfrm>
                <a:off x="1247004" y="2054367"/>
                <a:ext cx="6797245" cy="272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SELECT</a:t>
                </a:r>
                <a14:m>
                  <m:oMath xmlns:m="http://schemas.openxmlformats.org/officeDocument/2006/math">
                    <m:r>
                      <a:rPr lang="en-US" sz="2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m:rPr>
                        <m:nor/>
                      </m:rPr>
                      <a:rPr lang="en-US" sz="2400" b="0" i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𝑣𝑒𝑐</m:t>
                    </m:r>
                    <m:r>
                      <m:rPr>
                        <m:nor/>
                      </m:rPr>
                      <a:rPr lang="en-US" sz="2400" b="0" i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𝑝𝑒𝑎𝑟𝑠𝑜𝑛</m:t>
                    </m:r>
                    <m:d>
                      <m:dPr>
                        <m:ctrlP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𝑔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</m:e>
                        </m:d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</m:e>
                    </m:d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FROM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,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, vectors AS </a:t>
                </a:r>
                <a14:m>
                  <m:oMath xmlns:m="http://schemas.openxmlformats.org/officeDocument/2006/math">
                    <m:r>
                      <a:rPr lang="en-US" sz="24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WHERE </a:t>
                </a:r>
                <a14:m>
                  <m:oMath xmlns:m="http://schemas.openxmlformats.org/officeDocument/2006/math"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≠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≠</m:t>
                    </m:r>
                    <m:r>
                      <a:rPr lang="en-US" sz="240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𝑖𝑑</m:t>
                    </m:r>
                  </m:oMath>
                </a14:m>
                <a:endPara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>
                  <a:spcAft>
                    <a:spcPts val="800"/>
                  </a:spcAft>
                </a:pPr>
                <a:r>
                  <a: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rPr>
                  <a:t>AND 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≥ </m:t>
                    </m:r>
                    <m:r>
                      <a:rPr lang="en-US" sz="24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𝜏</m:t>
                    </m:r>
                  </m:oMath>
                </a14:m>
                <a:endParaRPr 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4" name="TextBox 191">
                <a:extLst>
                  <a:ext uri="{FF2B5EF4-FFF2-40B4-BE49-F238E27FC236}">
                    <a16:creationId xmlns:a16="http://schemas.microsoft.com/office/drawing/2014/main" id="{5C8F2392-77A2-488E-9933-535C2BB94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7004" y="2054367"/>
                <a:ext cx="6797245" cy="2728952"/>
              </a:xfrm>
              <a:prstGeom prst="rect">
                <a:avLst/>
              </a:prstGeom>
              <a:blipFill>
                <a:blip r:embed="rId6"/>
                <a:stretch>
                  <a:fillRect l="-2780" t="-3348" b="-5804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3" name="corr patern">
            <a:extLst>
              <a:ext uri="{FF2B5EF4-FFF2-40B4-BE49-F238E27FC236}">
                <a16:creationId xmlns:a16="http://schemas.microsoft.com/office/drawing/2014/main" id="{7754B393-BB8A-4D81-A0DE-F19B566CF4D3}"/>
              </a:ext>
            </a:extLst>
          </p:cNvPr>
          <p:cNvGrpSpPr/>
          <p:nvPr/>
        </p:nvGrpSpPr>
        <p:grpSpPr>
          <a:xfrm>
            <a:off x="3528436" y="2078265"/>
            <a:ext cx="4079796" cy="531011"/>
            <a:chOff x="3397958" y="1970778"/>
            <a:chExt cx="4079796" cy="531011"/>
          </a:xfrm>
        </p:grpSpPr>
        <p:sp>
          <p:nvSpPr>
            <p:cNvPr id="100" name="Right Brace 99">
              <a:extLst>
                <a:ext uri="{FF2B5EF4-FFF2-40B4-BE49-F238E27FC236}">
                  <a16:creationId xmlns:a16="http://schemas.microsoft.com/office/drawing/2014/main" id="{98AE82A5-7F4A-49C8-B1B3-F20AFD47A596}"/>
                </a:ext>
              </a:extLst>
            </p:cNvPr>
            <p:cNvSpPr/>
            <p:nvPr/>
          </p:nvSpPr>
          <p:spPr>
            <a:xfrm rot="16200000">
              <a:off x="5358257" y="382293"/>
              <a:ext cx="159197" cy="4079796"/>
            </a:xfrm>
            <a:prstGeom prst="rightBrace">
              <a:avLst>
                <a:gd name="adj1" fmla="val 8333"/>
                <a:gd name="adj2" fmla="val 70087"/>
              </a:avLst>
            </a:prstGeom>
            <a:ln w="22225">
              <a:solidFill>
                <a:srgbClr val="7F7F7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4" name="TextBox 191">
              <a:extLst>
                <a:ext uri="{FF2B5EF4-FFF2-40B4-BE49-F238E27FC236}">
                  <a16:creationId xmlns:a16="http://schemas.microsoft.com/office/drawing/2014/main" id="{E5BC2047-B187-44BB-B112-8A0DC7410064}"/>
                </a:ext>
              </a:extLst>
            </p:cNvPr>
            <p:cNvSpPr txBox="1"/>
            <p:nvPr/>
          </p:nvSpPr>
          <p:spPr>
            <a:xfrm>
              <a:off x="5370087" y="1970778"/>
              <a:ext cx="210766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i="1" dirty="0">
                  <a:solidFill>
                    <a:srgbClr val="A6A6A6"/>
                  </a:solidFill>
                </a:rPr>
                <a:t>Correlation pattern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C0CC9AF-C543-4150-B09D-99F672E00A39}"/>
              </a:ext>
            </a:extLst>
          </p:cNvPr>
          <p:cNvGrpSpPr/>
          <p:nvPr/>
        </p:nvGrpSpPr>
        <p:grpSpPr>
          <a:xfrm>
            <a:off x="1128301" y="4779029"/>
            <a:ext cx="6479928" cy="1418747"/>
            <a:chOff x="1174205" y="4657268"/>
            <a:chExt cx="5882909" cy="3090915"/>
          </a:xfrm>
        </p:grpSpPr>
        <p:grpSp>
          <p:nvGrpSpPr>
            <p:cNvPr id="83" name="minjump">
              <a:extLst>
                <a:ext uri="{FF2B5EF4-FFF2-40B4-BE49-F238E27FC236}">
                  <a16:creationId xmlns:a16="http://schemas.microsoft.com/office/drawing/2014/main" id="{F9D8C108-65EB-4576-A406-EC09DCA94CF0}"/>
                </a:ext>
              </a:extLst>
            </p:cNvPr>
            <p:cNvGrpSpPr/>
            <p:nvPr/>
          </p:nvGrpSpPr>
          <p:grpSpPr>
            <a:xfrm>
              <a:off x="1174205" y="4657268"/>
              <a:ext cx="5882909" cy="3090915"/>
              <a:chOff x="-152672" y="4227761"/>
              <a:chExt cx="5882909" cy="3090915"/>
            </a:xfrm>
          </p:grpSpPr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7082F478-2DFD-4510-BE04-5CAB32BE9228}"/>
                  </a:ext>
                </a:extLst>
              </p:cNvPr>
              <p:cNvSpPr/>
              <p:nvPr/>
            </p:nvSpPr>
            <p:spPr>
              <a:xfrm>
                <a:off x="-152672" y="4227761"/>
                <a:ext cx="4540447" cy="3090915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2400"/>
              </a:p>
            </p:txBody>
          </p:sp>
          <p:sp>
            <p:nvSpPr>
              <p:cNvPr id="85" name="TextBox 191">
                <a:extLst>
                  <a:ext uri="{FF2B5EF4-FFF2-40B4-BE49-F238E27FC236}">
                    <a16:creationId xmlns:a16="http://schemas.microsoft.com/office/drawing/2014/main" id="{9F90AE87-1AC3-4FE8-A207-D55BAD09A22B}"/>
                  </a:ext>
                </a:extLst>
              </p:cNvPr>
              <p:cNvSpPr txBox="1"/>
              <p:nvPr/>
            </p:nvSpPr>
            <p:spPr>
              <a:xfrm>
                <a:off x="4755314" y="5313353"/>
                <a:ext cx="974923" cy="1206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dditional </a:t>
                </a:r>
              </a:p>
              <a:p>
                <a:r>
                  <a:rPr lang="en-US" b="1" i="1" dirty="0">
                    <a:solidFill>
                      <a:srgbClr val="A6A6A6"/>
                    </a:solidFill>
                  </a:rPr>
                  <a:t>constraints</a:t>
                </a:r>
              </a:p>
            </p:txBody>
          </p: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D66CF1BC-EE6F-4317-AD0F-A2F27DEBFF72}"/>
                  </a:ext>
                </a:extLst>
              </p:cNvPr>
              <p:cNvCxnSpPr>
                <a:cxnSpLocks/>
                <a:endCxn id="85" idx="1"/>
              </p:cNvCxnSpPr>
              <p:nvPr/>
            </p:nvCxnSpPr>
            <p:spPr>
              <a:xfrm>
                <a:off x="4357335" y="5916828"/>
                <a:ext cx="397979" cy="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id="{64441BA7-F34B-4A6D-B1DA-F9BF4288C0BC}"/>
                    </a:ext>
                  </a:extLst>
                </p:cNvPr>
                <p:cNvSpPr txBox="1"/>
                <p:nvPr/>
              </p:nvSpPr>
              <p:spPr>
                <a:xfrm>
                  <a:off x="1190636" y="4712752"/>
                  <a:ext cx="4560152" cy="29854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𝑝𝑒𝑎𝑟𝑠𝑜𝑛</m:t>
                      </m:r>
                      <m:d>
                        <m:dPr>
                          <m:ctrlP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sz="2400" i="1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𝑣𝑒𝑐</m:t>
                          </m:r>
                        </m:e>
                      </m:d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endParaRPr lang="en-NL" sz="2400" dirty="0"/>
                </a:p>
              </p:txBody>
            </p:sp>
          </mc:Choice>
          <mc:Fallback xmlns=""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id="{64441BA7-F34B-4A6D-B1DA-F9BF4288C0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90636" y="4712752"/>
                  <a:ext cx="4560152" cy="2985433"/>
                </a:xfrm>
                <a:prstGeom prst="rect">
                  <a:avLst/>
                </a:prstGeom>
                <a:blipFill>
                  <a:blip r:embed="rId8"/>
                  <a:stretch>
                    <a:fillRect l="-1820" t="-3556" b="-11556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A1750C1-EC7F-4EEE-BFD6-702282EF3D76}"/>
              </a:ext>
            </a:extLst>
          </p:cNvPr>
          <p:cNvGrpSpPr/>
          <p:nvPr/>
        </p:nvGrpSpPr>
        <p:grpSpPr>
          <a:xfrm>
            <a:off x="8190626" y="1156686"/>
            <a:ext cx="3677513" cy="5064522"/>
            <a:chOff x="8190626" y="1156686"/>
            <a:chExt cx="3677513" cy="5064522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65DCCD7-2AA1-4F1E-82C0-B9C440B940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90626" y="1156686"/>
              <a:ext cx="0" cy="4992444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5" name="TextBox 191">
              <a:extLst>
                <a:ext uri="{FF2B5EF4-FFF2-40B4-BE49-F238E27FC236}">
                  <a16:creationId xmlns:a16="http://schemas.microsoft.com/office/drawing/2014/main" id="{F7ADB9E8-4EE8-4B7B-94F7-783A3E3A2164}"/>
                </a:ext>
              </a:extLst>
            </p:cNvPr>
            <p:cNvSpPr txBox="1"/>
            <p:nvPr/>
          </p:nvSpPr>
          <p:spPr>
            <a:xfrm>
              <a:off x="8275161" y="3903616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>
                  <a:solidFill>
                    <a:srgbClr val="7F7F7F"/>
                  </a:solidFill>
                </a:rPr>
                <a:t>Aggregation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49" name="TextBox 191">
              <a:extLst>
                <a:ext uri="{FF2B5EF4-FFF2-40B4-BE49-F238E27FC236}">
                  <a16:creationId xmlns:a16="http://schemas.microsoft.com/office/drawing/2014/main" id="{E9970CA5-DD1A-4A48-9402-19A3A977FB03}"/>
                </a:ext>
              </a:extLst>
            </p:cNvPr>
            <p:cNvSpPr txBox="1"/>
            <p:nvPr/>
          </p:nvSpPr>
          <p:spPr>
            <a:xfrm>
              <a:off x="8275162" y="1657795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>
                  <a:solidFill>
                    <a:srgbClr val="7F7F7F"/>
                  </a:solidFill>
                </a:rPr>
                <a:t>Query type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48" name="TextBox 191">
              <a:extLst>
                <a:ext uri="{FF2B5EF4-FFF2-40B4-BE49-F238E27FC236}">
                  <a16:creationId xmlns:a16="http://schemas.microsoft.com/office/drawing/2014/main" id="{E8D2770F-ED03-4323-BF3A-23DB96C9AB5D}"/>
                </a:ext>
              </a:extLst>
            </p:cNvPr>
            <p:cNvSpPr txBox="1"/>
            <p:nvPr/>
          </p:nvSpPr>
          <p:spPr>
            <a:xfrm>
              <a:off x="10042544" y="1657795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 dirty="0" err="1">
                  <a:solidFill>
                    <a:srgbClr val="7F7F7F"/>
                  </a:solidFill>
                </a:rPr>
                <a:t>Corr</a:t>
              </a:r>
              <a:r>
                <a:rPr lang="en-US" sz="2000" b="1" u="sng" dirty="0">
                  <a:solidFill>
                    <a:srgbClr val="7F7F7F"/>
                  </a:solidFill>
                </a:rPr>
                <a:t> metric</a:t>
              </a:r>
              <a:endParaRPr lang="en-US" sz="2800" b="0" u="sng" dirty="0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sp>
          <p:nvSpPr>
            <p:cNvPr id="60" name="TextBox 191">
              <a:extLst>
                <a:ext uri="{FF2B5EF4-FFF2-40B4-BE49-F238E27FC236}">
                  <a16:creationId xmlns:a16="http://schemas.microsoft.com/office/drawing/2014/main" id="{B068006D-85F7-4190-97CC-9AC547751F4E}"/>
                </a:ext>
              </a:extLst>
            </p:cNvPr>
            <p:cNvSpPr txBox="1"/>
            <p:nvPr/>
          </p:nvSpPr>
          <p:spPr>
            <a:xfrm>
              <a:off x="10042544" y="3903616"/>
              <a:ext cx="182559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u="sng">
                  <a:solidFill>
                    <a:srgbClr val="7F7F7F"/>
                  </a:solidFill>
                </a:rPr>
                <a:t>Constraints</a:t>
              </a:r>
              <a:endParaRPr lang="en-US" sz="2800" b="0" u="sng">
                <a:solidFill>
                  <a:srgbClr val="7F7F7F"/>
                </a:solidFill>
                <a:ea typeface="Cambria Math" panose="02040503050406030204" pitchFamily="18" charset="0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0D12F23-74AA-45D7-9FED-7AF5924E6EAD}"/>
                </a:ext>
              </a:extLst>
            </p:cNvPr>
            <p:cNvGrpSpPr/>
            <p:nvPr/>
          </p:nvGrpSpPr>
          <p:grpSpPr>
            <a:xfrm>
              <a:off x="8595465" y="2065437"/>
              <a:ext cx="1184988" cy="784237"/>
              <a:chOff x="8595465" y="2578299"/>
              <a:chExt cx="1184988" cy="784237"/>
            </a:xfrm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76D3EA82-4D1C-4BE1-9D57-034B1EDA7BCD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rgbClr val="F8C4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53" name="TextBox 191">
                <a:extLst>
                  <a:ext uri="{FF2B5EF4-FFF2-40B4-BE49-F238E27FC236}">
                    <a16:creationId xmlns:a16="http://schemas.microsoft.com/office/drawing/2014/main" id="{8E1925E2-72FE-454E-B99F-28CBF1BD17E8}"/>
                  </a:ext>
                </a:extLst>
              </p:cNvPr>
              <p:cNvSpPr txBox="1"/>
              <p:nvPr/>
            </p:nvSpPr>
            <p:spPr>
              <a:xfrm>
                <a:off x="8923117" y="2706611"/>
                <a:ext cx="52968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>
                    <a:solidFill>
                      <a:srgbClr val="A6A6A6"/>
                    </a:solidFill>
                  </a:rPr>
                  <a:t>Top-k</a:t>
                </a:r>
              </a:p>
            </p:txBody>
          </p:sp>
          <p:sp>
            <p:nvSpPr>
              <p:cNvPr id="64" name="TextBox 191">
                <a:extLst>
                  <a:ext uri="{FF2B5EF4-FFF2-40B4-BE49-F238E27FC236}">
                    <a16:creationId xmlns:a16="http://schemas.microsoft.com/office/drawing/2014/main" id="{BFA077B9-A9C6-42B1-9F5B-72B2F6BCC438}"/>
                  </a:ext>
                </a:extLst>
              </p:cNvPr>
              <p:cNvSpPr txBox="1"/>
              <p:nvPr/>
            </p:nvSpPr>
            <p:spPr>
              <a:xfrm>
                <a:off x="9076301" y="2952113"/>
                <a:ext cx="21949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  <a:endParaRPr lang="en-US" sz="20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149FAC9-41F7-4A90-9738-7B52B23316E7}"/>
                </a:ext>
              </a:extLst>
            </p:cNvPr>
            <p:cNvGrpSpPr/>
            <p:nvPr/>
          </p:nvGrpSpPr>
          <p:grpSpPr>
            <a:xfrm>
              <a:off x="10362847" y="3049405"/>
              <a:ext cx="1184988" cy="784237"/>
              <a:chOff x="8595465" y="2578299"/>
              <a:chExt cx="1184988" cy="784237"/>
            </a:xfrm>
          </p:grpSpPr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393EFA97-5135-4C13-BAB0-B99C53A57869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67" name="TextBox 191">
                <a:extLst>
                  <a:ext uri="{FF2B5EF4-FFF2-40B4-BE49-F238E27FC236}">
                    <a16:creationId xmlns:a16="http://schemas.microsoft.com/office/drawing/2014/main" id="{85E972EF-2382-4566-BBB7-F90772696E04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 dirty="0">
                    <a:solidFill>
                      <a:srgbClr val="A6A6A6"/>
                    </a:solidFill>
                  </a:rPr>
                  <a:t>Multipole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8" name="TextBox 191">
                    <a:extLst>
                      <a:ext uri="{FF2B5EF4-FFF2-40B4-BE49-F238E27FC236}">
                        <a16:creationId xmlns:a16="http://schemas.microsoft.com/office/drawing/2014/main" id="{B7EA0093-DC7C-4D06-B89F-24850FFDD943}"/>
                      </a:ext>
                    </a:extLst>
                  </p:cNvPr>
                  <p:cNvSpPr txBox="1"/>
                  <p:nvPr/>
                </p:nvSpPr>
                <p:spPr>
                  <a:xfrm>
                    <a:off x="8876751" y="3013670"/>
                    <a:ext cx="622415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𝑚𝑝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68" name="TextBox 191">
                    <a:extLst>
                      <a:ext uri="{FF2B5EF4-FFF2-40B4-BE49-F238E27FC236}">
                        <a16:creationId xmlns:a16="http://schemas.microsoft.com/office/drawing/2014/main" id="{B7EA0093-DC7C-4D06-B89F-24850FFDD94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76751" y="3013670"/>
                    <a:ext cx="622415" cy="246221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l="-9804" r="-14706" b="-325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B962DA0-D3DA-448A-B038-A02C9CA0E4A5}"/>
                </a:ext>
              </a:extLst>
            </p:cNvPr>
            <p:cNvGrpSpPr/>
            <p:nvPr/>
          </p:nvGrpSpPr>
          <p:grpSpPr>
            <a:xfrm>
              <a:off x="8593552" y="4368440"/>
              <a:ext cx="1184988" cy="784237"/>
              <a:chOff x="8595465" y="2578299"/>
              <a:chExt cx="1184988" cy="784237"/>
            </a:xfrm>
          </p:grpSpPr>
          <p:sp>
            <p:nvSpPr>
              <p:cNvPr id="70" name="Rectangle: Rounded Corners 69">
                <a:extLst>
                  <a:ext uri="{FF2B5EF4-FFF2-40B4-BE49-F238E27FC236}">
                    <a16:creationId xmlns:a16="http://schemas.microsoft.com/office/drawing/2014/main" id="{307E1BAD-EB01-4D87-BCD0-5700E8A5F6B0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71" name="TextBox 191">
                <a:extLst>
                  <a:ext uri="{FF2B5EF4-FFF2-40B4-BE49-F238E27FC236}">
                    <a16:creationId xmlns:a16="http://schemas.microsoft.com/office/drawing/2014/main" id="{62245D55-A552-4440-96D9-819D7E1F5901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>
                    <a:solidFill>
                      <a:srgbClr val="A6A6A6"/>
                    </a:solidFill>
                  </a:rPr>
                  <a:t>Sum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2" name="TextBox 191">
                    <a:extLst>
                      <a:ext uri="{FF2B5EF4-FFF2-40B4-BE49-F238E27FC236}">
                        <a16:creationId xmlns:a16="http://schemas.microsoft.com/office/drawing/2014/main" id="{7BFF7F2F-827E-4C39-8777-6DDFA2D4D6DB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𝑆𝑢𝑚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2" name="TextBox 191">
                    <a:extLst>
                      <a:ext uri="{FF2B5EF4-FFF2-40B4-BE49-F238E27FC236}">
                        <a16:creationId xmlns:a16="http://schemas.microsoft.com/office/drawing/2014/main" id="{7BFF7F2F-827E-4C39-8777-6DDFA2D4D6D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10476" r="-27619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392802B-DB64-46D6-9E67-8B91D5CA518D}"/>
                </a:ext>
              </a:extLst>
            </p:cNvPr>
            <p:cNvGrpSpPr/>
            <p:nvPr/>
          </p:nvGrpSpPr>
          <p:grpSpPr>
            <a:xfrm>
              <a:off x="10242706" y="4368440"/>
              <a:ext cx="1425267" cy="864829"/>
              <a:chOff x="8588004" y="2578299"/>
              <a:chExt cx="1192449" cy="864829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C67AA8DD-2E37-49EA-8C76-5D422FFA919E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864829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75" name="TextBox 191">
                <a:extLst>
                  <a:ext uri="{FF2B5EF4-FFF2-40B4-BE49-F238E27FC236}">
                    <a16:creationId xmlns:a16="http://schemas.microsoft.com/office/drawing/2014/main" id="{6F5A98B1-656C-4C4A-A7CB-47517D75ACAC}"/>
                  </a:ext>
                </a:extLst>
              </p:cNvPr>
              <p:cNvSpPr txBox="1"/>
              <p:nvPr/>
            </p:nvSpPr>
            <p:spPr>
              <a:xfrm>
                <a:off x="8588004" y="2645056"/>
                <a:ext cx="1184988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Irreducibility </a:t>
                </a:r>
                <a:br>
                  <a:rPr lang="en-US" sz="1600" b="1" i="1" dirty="0">
                    <a:solidFill>
                      <a:srgbClr val="A6A6A6"/>
                    </a:solidFill>
                  </a:rPr>
                </a:br>
                <a:r>
                  <a:rPr lang="en-US" sz="1400" b="1" i="1" dirty="0">
                    <a:solidFill>
                      <a:srgbClr val="A6A6A6"/>
                    </a:solidFill>
                  </a:rPr>
                  <a:t>(no supersets)</a:t>
                </a:r>
                <a:endParaRPr lang="en-US" sz="1600" b="1" i="1" dirty="0">
                  <a:solidFill>
                    <a:srgbClr val="A6A6A6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6" name="TextBox 191">
                    <a:extLst>
                      <a:ext uri="{FF2B5EF4-FFF2-40B4-BE49-F238E27FC236}">
                        <a16:creationId xmlns:a16="http://schemas.microsoft.com/office/drawing/2014/main" id="{BD417E22-4E02-48DA-ACF8-B927FD817545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…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6" name="TextBox 191">
                    <a:extLst>
                      <a:ext uri="{FF2B5EF4-FFF2-40B4-BE49-F238E27FC236}">
                        <a16:creationId xmlns:a16="http://schemas.microsoft.com/office/drawing/2014/main" id="{BD417E22-4E02-48DA-ACF8-B927FD81754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34527406-10DC-4815-9B9D-FFE0246FF8B0}"/>
                </a:ext>
              </a:extLst>
            </p:cNvPr>
            <p:cNvGrpSpPr/>
            <p:nvPr/>
          </p:nvGrpSpPr>
          <p:grpSpPr>
            <a:xfrm>
              <a:off x="8593552" y="3040855"/>
              <a:ext cx="1184988" cy="784237"/>
              <a:chOff x="8595465" y="2578299"/>
              <a:chExt cx="1184988" cy="784237"/>
            </a:xfrm>
          </p:grpSpPr>
          <p:sp>
            <p:nvSpPr>
              <p:cNvPr id="124" name="Rectangle: Rounded Corners 123">
                <a:extLst>
                  <a:ext uri="{FF2B5EF4-FFF2-40B4-BE49-F238E27FC236}">
                    <a16:creationId xmlns:a16="http://schemas.microsoft.com/office/drawing/2014/main" id="{FE515305-A405-4ACB-9D72-0E4451740417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rgbClr val="F8C4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25" name="TextBox 191">
                <a:extLst>
                  <a:ext uri="{FF2B5EF4-FFF2-40B4-BE49-F238E27FC236}">
                    <a16:creationId xmlns:a16="http://schemas.microsoft.com/office/drawing/2014/main" id="{362E4DA7-B4F3-4125-96A7-78C67A7D2676}"/>
                  </a:ext>
                </a:extLst>
              </p:cNvPr>
              <p:cNvSpPr txBox="1"/>
              <p:nvPr/>
            </p:nvSpPr>
            <p:spPr>
              <a:xfrm>
                <a:off x="8759291" y="2706611"/>
                <a:ext cx="85733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b="1" i="1" dirty="0">
                    <a:solidFill>
                      <a:srgbClr val="A6A6A6"/>
                    </a:solidFill>
                  </a:rPr>
                  <a:t>Threshold</a:t>
                </a:r>
              </a:p>
            </p:txBody>
          </p:sp>
          <p:sp>
            <p:nvSpPr>
              <p:cNvPr id="127" name="TextBox 191">
                <a:extLst>
                  <a:ext uri="{FF2B5EF4-FFF2-40B4-BE49-F238E27FC236}">
                    <a16:creationId xmlns:a16="http://schemas.microsoft.com/office/drawing/2014/main" id="{E85390A3-DA25-4B19-99E3-9CAAEE998A99}"/>
                  </a:ext>
                </a:extLst>
              </p:cNvPr>
              <p:cNvSpPr txBox="1"/>
              <p:nvPr/>
            </p:nvSpPr>
            <p:spPr>
              <a:xfrm>
                <a:off x="9076301" y="2952113"/>
                <a:ext cx="21949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…</a:t>
                </a:r>
                <a:endParaRPr lang="en-US" sz="200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1D6D36-9115-4D1B-90B5-6DC3A4849696}"/>
                </a:ext>
              </a:extLst>
            </p:cNvPr>
            <p:cNvGrpSpPr/>
            <p:nvPr/>
          </p:nvGrpSpPr>
          <p:grpSpPr>
            <a:xfrm>
              <a:off x="10362847" y="2050930"/>
              <a:ext cx="1184988" cy="897034"/>
              <a:chOff x="8595465" y="2578299"/>
              <a:chExt cx="1184988" cy="784237"/>
            </a:xfrm>
          </p:grpSpPr>
          <p:sp>
            <p:nvSpPr>
              <p:cNvPr id="129" name="Rectangle: Rounded Corners 128">
                <a:extLst>
                  <a:ext uri="{FF2B5EF4-FFF2-40B4-BE49-F238E27FC236}">
                    <a16:creationId xmlns:a16="http://schemas.microsoft.com/office/drawing/2014/main" id="{006F62A8-D809-4564-8E6B-CEBF8077DB77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0" name="TextBox 191">
                <a:extLst>
                  <a:ext uri="{FF2B5EF4-FFF2-40B4-BE49-F238E27FC236}">
                    <a16:creationId xmlns:a16="http://schemas.microsoft.com/office/drawing/2014/main" id="{B2F4CA68-4DEE-4F7D-8B7C-0D049228A82F}"/>
                  </a:ext>
                </a:extLst>
              </p:cNvPr>
              <p:cNvSpPr txBox="1"/>
              <p:nvPr/>
            </p:nvSpPr>
            <p:spPr>
              <a:xfrm>
                <a:off x="8767172" y="2615069"/>
                <a:ext cx="820884" cy="4305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Multi-Pearson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1" name="TextBox 191">
                    <a:extLst>
                      <a:ext uri="{FF2B5EF4-FFF2-40B4-BE49-F238E27FC236}">
                        <a16:creationId xmlns:a16="http://schemas.microsoft.com/office/drawing/2014/main" id="{36378915-EA5B-443D-A6F2-C707C5227C9D}"/>
                      </a:ext>
                    </a:extLst>
                  </p:cNvPr>
                  <p:cNvSpPr txBox="1"/>
                  <p:nvPr/>
                </p:nvSpPr>
                <p:spPr>
                  <a:xfrm>
                    <a:off x="8767172" y="3066440"/>
                    <a:ext cx="622415" cy="21526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𝑚𝑐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,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1" name="TextBox 191">
                    <a:extLst>
                      <a:ext uri="{FF2B5EF4-FFF2-40B4-BE49-F238E27FC236}">
                        <a16:creationId xmlns:a16="http://schemas.microsoft.com/office/drawing/2014/main" id="{36378915-EA5B-443D-A6F2-C707C5227C9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67172" y="3066440"/>
                    <a:ext cx="622415" cy="215260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7843" r="-47059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94F7AAB7-ED9E-4781-B0B4-FAF95909F970}"/>
                </a:ext>
              </a:extLst>
            </p:cNvPr>
            <p:cNvGrpSpPr/>
            <p:nvPr/>
          </p:nvGrpSpPr>
          <p:grpSpPr>
            <a:xfrm>
              <a:off x="8603367" y="5343731"/>
              <a:ext cx="1184988" cy="784237"/>
              <a:chOff x="8595465" y="2578299"/>
              <a:chExt cx="1184988" cy="784237"/>
            </a:xfrm>
          </p:grpSpPr>
          <p:sp>
            <p:nvSpPr>
              <p:cNvPr id="133" name="Rectangle: Rounded Corners 132">
                <a:extLst>
                  <a:ext uri="{FF2B5EF4-FFF2-40B4-BE49-F238E27FC236}">
                    <a16:creationId xmlns:a16="http://schemas.microsoft.com/office/drawing/2014/main" id="{15FD90FA-B66B-4140-85D9-EB7FBEC58C18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784237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191">
                <a:extLst>
                  <a:ext uri="{FF2B5EF4-FFF2-40B4-BE49-F238E27FC236}">
                    <a16:creationId xmlns:a16="http://schemas.microsoft.com/office/drawing/2014/main" id="{3223785C-A02F-48D3-B261-2A75DC9DE73B}"/>
                  </a:ext>
                </a:extLst>
              </p:cNvPr>
              <p:cNvSpPr txBox="1"/>
              <p:nvPr/>
            </p:nvSpPr>
            <p:spPr>
              <a:xfrm>
                <a:off x="8777517" y="2706611"/>
                <a:ext cx="820884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Average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5" name="TextBox 191">
                    <a:extLst>
                      <a:ext uri="{FF2B5EF4-FFF2-40B4-BE49-F238E27FC236}">
                        <a16:creationId xmlns:a16="http://schemas.microsoft.com/office/drawing/2014/main" id="{A4EDC717-DED3-4FFD-82DA-E88FC6C0C554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𝐴𝑣𝑔</m:t>
                          </m:r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..)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5" name="TextBox 191">
                    <a:extLst>
                      <a:ext uri="{FF2B5EF4-FFF2-40B4-BE49-F238E27FC236}">
                        <a16:creationId xmlns:a16="http://schemas.microsoft.com/office/drawing/2014/main" id="{A4EDC717-DED3-4FFD-82DA-E88FC6C0C55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013670"/>
                    <a:ext cx="637338" cy="246221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14286" r="-22857" b="-35000"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3C6E958E-8551-4A0B-9305-918B1D56B3D3}"/>
                </a:ext>
              </a:extLst>
            </p:cNvPr>
            <p:cNvGrpSpPr/>
            <p:nvPr/>
          </p:nvGrpSpPr>
          <p:grpSpPr>
            <a:xfrm>
              <a:off x="10251624" y="5356379"/>
              <a:ext cx="1425267" cy="864829"/>
              <a:chOff x="8588004" y="2578299"/>
              <a:chExt cx="1192449" cy="864829"/>
            </a:xfrm>
          </p:grpSpPr>
          <p:sp>
            <p:nvSpPr>
              <p:cNvPr id="141" name="Rectangle: Rounded Corners 140">
                <a:extLst>
                  <a:ext uri="{FF2B5EF4-FFF2-40B4-BE49-F238E27FC236}">
                    <a16:creationId xmlns:a16="http://schemas.microsoft.com/office/drawing/2014/main" id="{C6649FD6-52D5-4545-817F-9C7A8D01EFBE}"/>
                  </a:ext>
                </a:extLst>
              </p:cNvPr>
              <p:cNvSpPr/>
              <p:nvPr/>
            </p:nvSpPr>
            <p:spPr>
              <a:xfrm>
                <a:off x="8595465" y="2578299"/>
                <a:ext cx="1184988" cy="864829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2" name="TextBox 191">
                <a:extLst>
                  <a:ext uri="{FF2B5EF4-FFF2-40B4-BE49-F238E27FC236}">
                    <a16:creationId xmlns:a16="http://schemas.microsoft.com/office/drawing/2014/main" id="{AD2FB7BC-88E4-478F-ADC0-813CDD764190}"/>
                  </a:ext>
                </a:extLst>
              </p:cNvPr>
              <p:cNvSpPr txBox="1"/>
              <p:nvPr/>
            </p:nvSpPr>
            <p:spPr>
              <a:xfrm>
                <a:off x="8588004" y="2645056"/>
                <a:ext cx="1184988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b="1" i="1" dirty="0">
                    <a:solidFill>
                      <a:srgbClr val="A6A6A6"/>
                    </a:solidFill>
                  </a:rPr>
                  <a:t>Minimum jump </a:t>
                </a:r>
                <a:br>
                  <a:rPr lang="en-US" sz="1600" b="1" i="1" dirty="0">
                    <a:solidFill>
                      <a:srgbClr val="A6A6A6"/>
                    </a:solidFill>
                  </a:rPr>
                </a:br>
                <a:r>
                  <a:rPr lang="en-US" sz="1400" b="1" i="1" dirty="0">
                    <a:solidFill>
                      <a:srgbClr val="A6A6A6"/>
                    </a:solidFill>
                  </a:rPr>
                  <a:t>(no strong subsets)</a:t>
                </a:r>
                <a:endParaRPr lang="en-US" sz="1600" b="1" i="1" dirty="0">
                  <a:solidFill>
                    <a:srgbClr val="A6A6A6"/>
                  </a:solidFill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4" name="TextBox 191">
                    <a:extLst>
                      <a:ext uri="{FF2B5EF4-FFF2-40B4-BE49-F238E27FC236}">
                        <a16:creationId xmlns:a16="http://schemas.microsoft.com/office/drawing/2014/main" id="{40CCCFA2-E1C2-404B-AD98-1F36D73F2722}"/>
                      </a:ext>
                    </a:extLst>
                  </p:cNvPr>
                  <p:cNvSpPr txBox="1"/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600" b="0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…</m:t>
                          </m:r>
                        </m:oMath>
                      </m:oMathPara>
                    </a14:m>
                    <a:endPara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44" name="TextBox 191">
                    <a:extLst>
                      <a:ext uri="{FF2B5EF4-FFF2-40B4-BE49-F238E27FC236}">
                        <a16:creationId xmlns:a16="http://schemas.microsoft.com/office/drawing/2014/main" id="{40CCCFA2-E1C2-404B-AD98-1F36D73F2722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861829" y="3173477"/>
                    <a:ext cx="637338" cy="246221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NL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E55776A-68A0-46DB-971B-26F087A88EC1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𝑚𝑐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r>
                  <a:rPr lang="en-US" sz="1400" dirty="0"/>
                  <a:t> 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𝐴𝑣𝑔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E55776A-68A0-46DB-971B-26F087A88E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12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8" name="TextBox 77">
            <a:extLst>
              <a:ext uri="{FF2B5EF4-FFF2-40B4-BE49-F238E27FC236}">
                <a16:creationId xmlns:a16="http://schemas.microsoft.com/office/drawing/2014/main" id="{F96F70B7-EC30-44A7-B743-6B43D610E080}"/>
              </a:ext>
            </a:extLst>
          </p:cNvPr>
          <p:cNvSpPr txBox="1"/>
          <p:nvPr/>
        </p:nvSpPr>
        <p:spPr>
          <a:xfrm>
            <a:off x="874713" y="318367"/>
            <a:ext cx="3427220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reliminari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3B0D43C-8085-42DA-8101-6034A6ABD104}"/>
              </a:ext>
            </a:extLst>
          </p:cNvPr>
          <p:cNvSpPr txBox="1"/>
          <p:nvPr/>
        </p:nvSpPr>
        <p:spPr>
          <a:xfrm>
            <a:off x="874713" y="1074167"/>
            <a:ext cx="394499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Queries (described in SQL lingo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29D298-0AE0-46BA-86A5-26AFF16918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5209970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Bounds on multi-</a:t>
            </a:r>
            <a:r>
              <a:rPr 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earson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8</a:t>
            </a:fld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A5935663-FFCC-43DD-9414-881721268F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367881" y="2437642"/>
                <a:ext cx="12927761" cy="2922458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𝒎𝒄</m:t>
                      </m:r>
                      <m:d>
                        <m:d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</m:d>
                      <m:r>
                        <a:rPr lang="nl-NL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 smtClean="0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nl-NL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 smtClean="0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 smtClean="0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nl-NL" b="1" dirty="0"/>
              </a:p>
              <a:p>
                <a:pPr marL="0" indent="0">
                  <a:buNone/>
                </a:pPr>
                <a:endParaRPr lang="nl-NL" b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nl-NL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  <m:r>
                        <a:rPr lang="nl-NL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nl-NL" b="1" i="1" smtClean="0">
                          <a:latin typeface="Cambria Math" panose="02040503050406030204" pitchFamily="18" charset="0"/>
                        </a:rPr>
                        <m:t>𝒎𝒄</m:t>
                      </m:r>
                      <m:d>
                        <m:d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nl-NL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</m:d>
                      <m:r>
                        <a:rPr lang="nl-NL" i="1" smtClean="0">
                          <a:latin typeface="Cambria Math" panose="02040503050406030204" pitchFamily="18" charset="0"/>
                        </a:rPr>
                        <m:t>≤ </m:t>
                      </m:r>
                      <m:f>
                        <m:fPr>
                          <m:ctrlPr>
                            <a:rPr lang="nl-NL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num>
                        <m:den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  <m:r>
                            <a:rPr lang="nl-NL" i="1">
                              <a:latin typeface="Cambria Math" panose="02040503050406030204" pitchFamily="18" charset="0"/>
                            </a:rPr>
                            <m:t>√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nl-N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nl-NL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nl-NL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sub>
                            <m:sup/>
                            <m:e>
                              <m:r>
                                <a:rPr lang="nl-NL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d>
                                <m:dPr>
                                  <m:ctrlPr>
                                    <a:rPr lang="nl-NL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  <m:r>
                                    <a:rPr lang="nl-NL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nl-NL" b="1" i="1">
                                      <a:latin typeface="Cambria Math" panose="02040503050406030204" pitchFamily="18" charset="0"/>
                                    </a:rPr>
                                    <m:t>𝒋</m:t>
                                  </m:r>
                                </m:e>
                              </m:d>
                            </m:e>
                          </m:nary>
                        </m:den>
                      </m:f>
                    </m:oMath>
                  </m:oMathPara>
                </a14:m>
                <a:endParaRPr lang="nl-NL" b="1" dirty="0"/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A5935663-FFCC-43DD-9414-881721268F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67881" y="2437642"/>
                <a:ext cx="12927761" cy="292245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53013312"/>
      </p:ext>
    </p:extLst>
  </p:cSld>
  <p:clrMapOvr>
    <a:masterClrMapping/>
  </p:clrMapOvr>
  <p:transition spd="slow">
    <p:push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29</a:t>
            </a:fld>
            <a:endParaRPr lang="en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65C559-3349-4203-8F0B-E6B5518F8D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9911" y="2428496"/>
            <a:ext cx="8171920" cy="38204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89FB7B7-288E-4692-A6E1-3312F1B1E93B}"/>
              </a:ext>
            </a:extLst>
          </p:cNvPr>
          <p:cNvSpPr txBox="1"/>
          <p:nvPr/>
        </p:nvSpPr>
        <p:spPr>
          <a:xfrm>
            <a:off x="4750848" y="2105538"/>
            <a:ext cx="29951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 dirty="0">
                <a:solidFill>
                  <a:srgbClr val="C81919"/>
                </a:solidFill>
              </a:rPr>
              <a:t>Clustering parameters</a:t>
            </a:r>
          </a:p>
        </p:txBody>
      </p:sp>
    </p:spTree>
    <p:extLst>
      <p:ext uri="{BB962C8B-B14F-4D97-AF65-F5344CB8AC3E}">
        <p14:creationId xmlns:p14="http://schemas.microsoft.com/office/powerpoint/2010/main" val="2387906525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B2F1882-F518-420D-9CFC-CC31D0EBC5B5}"/>
              </a:ext>
            </a:extLst>
          </p:cNvPr>
          <p:cNvGrpSpPr/>
          <p:nvPr/>
        </p:nvGrpSpPr>
        <p:grpSpPr>
          <a:xfrm>
            <a:off x="8193495" y="3895135"/>
            <a:ext cx="819353" cy="819353"/>
            <a:chOff x="7853542" y="3895135"/>
            <a:chExt cx="819353" cy="819353"/>
          </a:xfrm>
        </p:grpSpPr>
        <p:sp>
          <p:nvSpPr>
            <p:cNvPr id="141" name="Ovaal 268">
              <a:extLst>
                <a:ext uri="{FF2B5EF4-FFF2-40B4-BE49-F238E27FC236}">
                  <a16:creationId xmlns:a16="http://schemas.microsoft.com/office/drawing/2014/main" id="{669CB755-3A9B-4FC5-B4A4-570936C686E5}"/>
                </a:ext>
              </a:extLst>
            </p:cNvPr>
            <p:cNvSpPr/>
            <p:nvPr/>
          </p:nvSpPr>
          <p:spPr>
            <a:xfrm>
              <a:off x="7853542" y="3895135"/>
              <a:ext cx="819353" cy="81935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42" name="Google Shape;349;p22">
              <a:extLst>
                <a:ext uri="{FF2B5EF4-FFF2-40B4-BE49-F238E27FC236}">
                  <a16:creationId xmlns:a16="http://schemas.microsoft.com/office/drawing/2014/main" id="{FCD009C2-18D7-4A48-9C69-2ED920A8D766}"/>
                </a:ext>
              </a:extLst>
            </p:cNvPr>
            <p:cNvSpPr/>
            <p:nvPr/>
          </p:nvSpPr>
          <p:spPr>
            <a:xfrm>
              <a:off x="8092592" y="4482196"/>
              <a:ext cx="378097" cy="1938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1400" b="1" kern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SUM</a:t>
              </a:r>
              <a:endParaRPr sz="1400" b="1" kern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AB274F69-1EBE-4A77-98A6-B7AC18102549}"/>
                </a:ext>
              </a:extLst>
            </p:cNvPr>
            <p:cNvSpPr/>
            <p:nvPr/>
          </p:nvSpPr>
          <p:spPr>
            <a:xfrm>
              <a:off x="7989519" y="4010631"/>
              <a:ext cx="547400" cy="444524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D1AE284A-F9BF-411F-9362-203EF4A54C33}"/>
                </a:ext>
              </a:extLst>
            </p:cNvPr>
            <p:cNvGrpSpPr/>
            <p:nvPr/>
          </p:nvGrpSpPr>
          <p:grpSpPr>
            <a:xfrm>
              <a:off x="8051865" y="4216842"/>
              <a:ext cx="418825" cy="103239"/>
              <a:chOff x="9210675" y="3284145"/>
              <a:chExt cx="1994244" cy="491575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A76DEAEB-7819-4B1D-A7BF-638AC75BB7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10675" y="3440430"/>
                <a:ext cx="354330" cy="0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0EA4B6F7-DFC9-4FBA-8BAB-845EDCB436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65005" y="3440430"/>
                <a:ext cx="259080" cy="335280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39A1B224-42DF-459C-AE94-8867ED9376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24087" y="3287307"/>
                <a:ext cx="319912" cy="488413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8BB5CFE1-35A8-4442-BC51-72EB1CE1BB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88763" y="3284145"/>
                <a:ext cx="1016156" cy="6838"/>
              </a:xfrm>
              <a:prstGeom prst="line">
                <a:avLst/>
              </a:prstGeom>
              <a:ln w="38100" cap="rnd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4B2743B-C771-44C9-926B-200D63453DEE}"/>
              </a:ext>
            </a:extLst>
          </p:cNvPr>
          <p:cNvGrpSpPr/>
          <p:nvPr/>
        </p:nvGrpSpPr>
        <p:grpSpPr>
          <a:xfrm>
            <a:off x="9088481" y="3988417"/>
            <a:ext cx="632019" cy="453615"/>
            <a:chOff x="5929556" y="3342228"/>
            <a:chExt cx="632019" cy="453615"/>
          </a:xfrm>
        </p:grpSpPr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0118E4DE-9219-4FF5-AA8E-F6837F3ADCCD}"/>
                </a:ext>
              </a:extLst>
            </p:cNvPr>
            <p:cNvGrpSpPr/>
            <p:nvPr/>
          </p:nvGrpSpPr>
          <p:grpSpPr>
            <a:xfrm>
              <a:off x="6061544" y="3697248"/>
              <a:ext cx="368043" cy="98595"/>
              <a:chOff x="8198583" y="5125817"/>
              <a:chExt cx="561352" cy="181838"/>
            </a:xfrm>
          </p:grpSpPr>
          <p:cxnSp>
            <p:nvCxnSpPr>
              <p:cNvPr id="160" name="Rechte verbindingslijn 304">
                <a:extLst>
                  <a:ext uri="{FF2B5EF4-FFF2-40B4-BE49-F238E27FC236}">
                    <a16:creationId xmlns:a16="http://schemas.microsoft.com/office/drawing/2014/main" id="{EBD3D887-07AE-4E42-9198-321BBEF9A03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98584" y="5216736"/>
                <a:ext cx="518491" cy="2"/>
              </a:xfrm>
              <a:prstGeom prst="line">
                <a:avLst/>
              </a:prstGeom>
              <a:ln w="50800" cap="rnd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35B07A2-44B9-4D76-B33E-826D2C025177}"/>
                  </a:ext>
                </a:extLst>
              </p:cNvPr>
              <p:cNvGrpSpPr/>
              <p:nvPr/>
            </p:nvGrpSpPr>
            <p:grpSpPr>
              <a:xfrm>
                <a:off x="8198583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65" name="Rechte verbindingslijn 305">
                  <a:extLst>
                    <a:ext uri="{FF2B5EF4-FFF2-40B4-BE49-F238E27FC236}">
                      <a16:creationId xmlns:a16="http://schemas.microsoft.com/office/drawing/2014/main" id="{259074B9-F589-4037-AF6C-989095A666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Rechte verbindingslijn 305">
                  <a:extLst>
                    <a:ext uri="{FF2B5EF4-FFF2-40B4-BE49-F238E27FC236}">
                      <a16:creationId xmlns:a16="http://schemas.microsoft.com/office/drawing/2014/main" id="{1E83AE90-BDCB-4977-8923-B252176758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42C16378-81DF-48A0-97AA-321AB2B8CA5C}"/>
                  </a:ext>
                </a:extLst>
              </p:cNvPr>
              <p:cNvGrpSpPr/>
              <p:nvPr/>
            </p:nvGrpSpPr>
            <p:grpSpPr>
              <a:xfrm flipH="1">
                <a:off x="8647806" y="5125817"/>
                <a:ext cx="112129" cy="181838"/>
                <a:chOff x="8198583" y="5125817"/>
                <a:chExt cx="112129" cy="181838"/>
              </a:xfrm>
            </p:grpSpPr>
            <p:cxnSp>
              <p:nvCxnSpPr>
                <p:cNvPr id="163" name="Rechte verbindingslijn 305">
                  <a:extLst>
                    <a:ext uri="{FF2B5EF4-FFF2-40B4-BE49-F238E27FC236}">
                      <a16:creationId xmlns:a16="http://schemas.microsoft.com/office/drawing/2014/main" id="{CFBC2D4F-0230-4C3C-BEFC-AC21F8E92A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198583" y="5125817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Rechte verbindingslijn 305">
                  <a:extLst>
                    <a:ext uri="{FF2B5EF4-FFF2-40B4-BE49-F238E27FC236}">
                      <a16:creationId xmlns:a16="http://schemas.microsoft.com/office/drawing/2014/main" id="{433CCB62-5B7F-4295-AB38-F032DFA0F3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199588" y="5216736"/>
                  <a:ext cx="111124" cy="90919"/>
                </a:xfrm>
                <a:prstGeom prst="line">
                  <a:avLst/>
                </a:prstGeom>
                <a:ln w="50800" cap="rnd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59" name="Google Shape;349;p22">
              <a:extLst>
                <a:ext uri="{FF2B5EF4-FFF2-40B4-BE49-F238E27FC236}">
                  <a16:creationId xmlns:a16="http://schemas.microsoft.com/office/drawing/2014/main" id="{7AED5382-F5F5-4492-B602-BD4F7A54A042}"/>
                </a:ext>
              </a:extLst>
            </p:cNvPr>
            <p:cNvSpPr/>
            <p:nvPr/>
          </p:nvSpPr>
          <p:spPr>
            <a:xfrm>
              <a:off x="5929556" y="3342228"/>
              <a:ext cx="632019" cy="332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sz="2400" b="1" kern="0" dirty="0">
                  <a:solidFill>
                    <a:srgbClr val="00B05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0.9</a:t>
              </a:r>
              <a:endParaRPr lang="en-US" sz="2000" b="1" kern="0" dirty="0">
                <a:solidFill>
                  <a:srgbClr val="00B050"/>
                </a:solidFill>
                <a:latin typeface="+mj-lt"/>
                <a:ea typeface="Roboto Light"/>
                <a:cs typeface="Segoe UI Light" panose="020B0502040204020203" pitchFamily="34" charset="0"/>
                <a:sym typeface="Roboto Light"/>
              </a:endParaRPr>
            </a:p>
          </p:txBody>
        </p:sp>
      </p:grp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3ADF9FA0-2F5A-4785-BF99-175794084712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175" name="Picture 174" descr="Icon&#10;&#10;Description automatically generated">
              <a:extLst>
                <a:ext uri="{FF2B5EF4-FFF2-40B4-BE49-F238E27FC236}">
                  <a16:creationId xmlns:a16="http://schemas.microsoft.com/office/drawing/2014/main" id="{C83643D1-8720-4D96-8385-4D29D999C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176" name="Google Shape;349;p22">
              <a:extLst>
                <a:ext uri="{FF2B5EF4-FFF2-40B4-BE49-F238E27FC236}">
                  <a16:creationId xmlns:a16="http://schemas.microsoft.com/office/drawing/2014/main" id="{4253021A-BDA2-4988-8DBC-6569A54DD41C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6B32EFD4-FAAF-4E20-9A52-AB11AD161E4A}"/>
              </a:ext>
            </a:extLst>
          </p:cNvPr>
          <p:cNvGrpSpPr/>
          <p:nvPr/>
        </p:nvGrpSpPr>
        <p:grpSpPr>
          <a:xfrm>
            <a:off x="6742050" y="2316994"/>
            <a:ext cx="1738462" cy="3990611"/>
            <a:chOff x="7322297" y="2316994"/>
            <a:chExt cx="1738462" cy="3990611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13419224-AB17-4CAF-9034-6D487D4CCED5}"/>
                </a:ext>
              </a:extLst>
            </p:cNvPr>
            <p:cNvGrpSpPr/>
            <p:nvPr/>
          </p:nvGrpSpPr>
          <p:grpSpPr>
            <a:xfrm>
              <a:off x="7322297" y="4569143"/>
              <a:ext cx="1738462" cy="1738462"/>
              <a:chOff x="7322297" y="4569143"/>
              <a:chExt cx="1738462" cy="1738462"/>
            </a:xfrm>
          </p:grpSpPr>
          <p:sp>
            <p:nvSpPr>
              <p:cNvPr id="282" name="Ovaal 268">
                <a:extLst>
                  <a:ext uri="{FF2B5EF4-FFF2-40B4-BE49-F238E27FC236}">
                    <a16:creationId xmlns:a16="http://schemas.microsoft.com/office/drawing/2014/main" id="{FC31045F-26EC-41CD-BDDE-7C9E7E501333}"/>
                  </a:ext>
                </a:extLst>
              </p:cNvPr>
              <p:cNvSpPr/>
              <p:nvPr/>
            </p:nvSpPr>
            <p:spPr>
              <a:xfrm>
                <a:off x="7322297" y="4569143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83" name="Ovaal 268">
                <a:extLst>
                  <a:ext uri="{FF2B5EF4-FFF2-40B4-BE49-F238E27FC236}">
                    <a16:creationId xmlns:a16="http://schemas.microsoft.com/office/drawing/2014/main" id="{A356EB94-9797-43FA-82B2-BFA20A59093B}"/>
                  </a:ext>
                </a:extLst>
              </p:cNvPr>
              <p:cNvSpPr/>
              <p:nvPr/>
            </p:nvSpPr>
            <p:spPr>
              <a:xfrm>
                <a:off x="7385801" y="4632647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284" name="Group 283">
                <a:extLst>
                  <a:ext uri="{FF2B5EF4-FFF2-40B4-BE49-F238E27FC236}">
                    <a16:creationId xmlns:a16="http://schemas.microsoft.com/office/drawing/2014/main" id="{FB3B919F-8DFC-4F08-80A7-D1CB89351AB4}"/>
                  </a:ext>
                </a:extLst>
              </p:cNvPr>
              <p:cNvGrpSpPr/>
              <p:nvPr/>
            </p:nvGrpSpPr>
            <p:grpSpPr>
              <a:xfrm>
                <a:off x="7534497" y="4979200"/>
                <a:ext cx="1313589" cy="826890"/>
                <a:chOff x="6875773" y="2272434"/>
                <a:chExt cx="1549400" cy="975331"/>
              </a:xfrm>
            </p:grpSpPr>
            <p:sp>
              <p:nvSpPr>
                <p:cNvPr id="305" name="Rectangle: Rounded Corners 304">
                  <a:extLst>
                    <a:ext uri="{FF2B5EF4-FFF2-40B4-BE49-F238E27FC236}">
                      <a16:creationId xmlns:a16="http://schemas.microsoft.com/office/drawing/2014/main" id="{73D9048A-653E-4284-B49C-E37B121D9A73}"/>
                    </a:ext>
                  </a:extLst>
                </p:cNvPr>
                <p:cNvSpPr/>
                <p:nvPr/>
              </p:nvSpPr>
              <p:spPr>
                <a:xfrm>
                  <a:off x="6875773" y="2272434"/>
                  <a:ext cx="1549400" cy="975331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306" name="Straight Connector 305">
                  <a:extLst>
                    <a:ext uri="{FF2B5EF4-FFF2-40B4-BE49-F238E27FC236}">
                      <a16:creationId xmlns:a16="http://schemas.microsoft.com/office/drawing/2014/main" id="{CDD29178-889B-41FA-BD42-42EE8D10D5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89" y="2427144"/>
                  <a:ext cx="0" cy="669131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7" name="Straight Connector 306">
                  <a:extLst>
                    <a:ext uri="{FF2B5EF4-FFF2-40B4-BE49-F238E27FC236}">
                      <a16:creationId xmlns:a16="http://schemas.microsoft.com/office/drawing/2014/main" id="{A5FF61EE-33A9-4221-84DA-192A78BCBE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3096275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88" name="Google Shape;349;p22">
                <a:extLst>
                  <a:ext uri="{FF2B5EF4-FFF2-40B4-BE49-F238E27FC236}">
                    <a16:creationId xmlns:a16="http://schemas.microsoft.com/office/drawing/2014/main" id="{9BB5E58B-4436-4C56-8CA6-B345A989E13F}"/>
                  </a:ext>
                </a:extLst>
              </p:cNvPr>
              <p:cNvSpPr/>
              <p:nvPr/>
            </p:nvSpPr>
            <p:spPr>
              <a:xfrm>
                <a:off x="7907399" y="5880064"/>
                <a:ext cx="535829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PARIS</a:t>
                </a:r>
                <a:endParaRPr b="1" kern="0" dirty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289" name="Group 288">
                <a:extLst>
                  <a:ext uri="{FF2B5EF4-FFF2-40B4-BE49-F238E27FC236}">
                    <a16:creationId xmlns:a16="http://schemas.microsoft.com/office/drawing/2014/main" id="{F1973D10-5D62-4CDB-9E40-FEAEC4B467CF}"/>
                  </a:ext>
                </a:extLst>
              </p:cNvPr>
              <p:cNvGrpSpPr/>
              <p:nvPr/>
            </p:nvGrpSpPr>
            <p:grpSpPr>
              <a:xfrm>
                <a:off x="7666116" y="5061367"/>
                <a:ext cx="1028785" cy="594430"/>
                <a:chOff x="7946401" y="4296659"/>
                <a:chExt cx="1213469" cy="701140"/>
              </a:xfrm>
            </p:grpSpPr>
            <p:grpSp>
              <p:nvGrpSpPr>
                <p:cNvPr id="290" name="Group 289">
                  <a:extLst>
                    <a:ext uri="{FF2B5EF4-FFF2-40B4-BE49-F238E27FC236}">
                      <a16:creationId xmlns:a16="http://schemas.microsoft.com/office/drawing/2014/main" id="{7375250C-8108-4510-A9D1-AF6070F16654}"/>
                    </a:ext>
                  </a:extLst>
                </p:cNvPr>
                <p:cNvGrpSpPr/>
                <p:nvPr/>
              </p:nvGrpSpPr>
              <p:grpSpPr>
                <a:xfrm>
                  <a:off x="7983544" y="4332659"/>
                  <a:ext cx="1139587" cy="635529"/>
                  <a:chOff x="7983544" y="4332659"/>
                  <a:chExt cx="1139587" cy="635529"/>
                </a:xfrm>
              </p:grpSpPr>
              <p:cxnSp>
                <p:nvCxnSpPr>
                  <p:cNvPr id="298" name="Straight Connector 297">
                    <a:extLst>
                      <a:ext uri="{FF2B5EF4-FFF2-40B4-BE49-F238E27FC236}">
                        <a16:creationId xmlns:a16="http://schemas.microsoft.com/office/drawing/2014/main" id="{22DF4EF0-3479-4075-BB25-E89796976F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44" y="4332659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9" name="Straight Connector 298">
                    <a:extLst>
                      <a:ext uri="{FF2B5EF4-FFF2-40B4-BE49-F238E27FC236}">
                        <a16:creationId xmlns:a16="http://schemas.microsoft.com/office/drawing/2014/main" id="{B9D0F5F5-885B-40FC-B410-26051A106B6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1" y="4514414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0" name="Straight Connector 299">
                    <a:extLst>
                      <a:ext uri="{FF2B5EF4-FFF2-40B4-BE49-F238E27FC236}">
                        <a16:creationId xmlns:a16="http://schemas.microsoft.com/office/drawing/2014/main" id="{C4104342-70A5-495E-900E-346791F7722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49" y="4531297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1" name="Straight Connector 300">
                    <a:extLst>
                      <a:ext uri="{FF2B5EF4-FFF2-40B4-BE49-F238E27FC236}">
                        <a16:creationId xmlns:a16="http://schemas.microsoft.com/office/drawing/2014/main" id="{A6E385FA-2941-4123-8D98-71EBAB8774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2" y="4529437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2" name="Straight Connector 301">
                    <a:extLst>
                      <a:ext uri="{FF2B5EF4-FFF2-40B4-BE49-F238E27FC236}">
                        <a16:creationId xmlns:a16="http://schemas.microsoft.com/office/drawing/2014/main" id="{5E1727EF-0056-43A7-844F-0A32ABEE10E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7" y="4657618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4" name="Straight Connector 303">
                    <a:extLst>
                      <a:ext uri="{FF2B5EF4-FFF2-40B4-BE49-F238E27FC236}">
                        <a16:creationId xmlns:a16="http://schemas.microsoft.com/office/drawing/2014/main" id="{042B564B-F8EB-4EBF-AF61-14885F10EF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rgbClr val="C8191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91" name="Oval 290">
                  <a:extLst>
                    <a:ext uri="{FF2B5EF4-FFF2-40B4-BE49-F238E27FC236}">
                      <a16:creationId xmlns:a16="http://schemas.microsoft.com/office/drawing/2014/main" id="{C0F34E27-F687-49BD-97DB-A3036E80581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401" y="429665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EA545F7F-362E-4875-966C-6459476A8F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22" y="447448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3" name="Oval 292">
                  <a:extLst>
                    <a:ext uri="{FF2B5EF4-FFF2-40B4-BE49-F238E27FC236}">
                      <a16:creationId xmlns:a16="http://schemas.microsoft.com/office/drawing/2014/main" id="{2BABC2DB-7CBF-44FD-AA82-08407323648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38" y="458350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12905FCE-A874-4354-869E-9ACAF082B08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78" y="4503145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5" name="Oval 294">
                  <a:extLst>
                    <a:ext uri="{FF2B5EF4-FFF2-40B4-BE49-F238E27FC236}">
                      <a16:creationId xmlns:a16="http://schemas.microsoft.com/office/drawing/2014/main" id="{F7051854-1E84-445E-801A-FB023349F73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55" y="472547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B88CE925-732B-46A8-AFDD-71131FAA0FF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9" y="46280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51893D49-636E-4D19-8EE3-68D087D8328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BA233B38-205C-4AA1-AB1D-25622576BF42}"/>
                </a:ext>
              </a:extLst>
            </p:cNvPr>
            <p:cNvGrpSpPr/>
            <p:nvPr/>
          </p:nvGrpSpPr>
          <p:grpSpPr>
            <a:xfrm>
              <a:off x="7322297" y="2316994"/>
              <a:ext cx="1738462" cy="1738462"/>
              <a:chOff x="7322297" y="2316994"/>
              <a:chExt cx="1738462" cy="1738462"/>
            </a:xfrm>
          </p:grpSpPr>
          <p:sp>
            <p:nvSpPr>
              <p:cNvPr id="250" name="Ovaal 268">
                <a:extLst>
                  <a:ext uri="{FF2B5EF4-FFF2-40B4-BE49-F238E27FC236}">
                    <a16:creationId xmlns:a16="http://schemas.microsoft.com/office/drawing/2014/main" id="{7102908F-DC68-4EF3-B195-E05C25AEADE9}"/>
                  </a:ext>
                </a:extLst>
              </p:cNvPr>
              <p:cNvSpPr/>
              <p:nvPr/>
            </p:nvSpPr>
            <p:spPr>
              <a:xfrm>
                <a:off x="7322297" y="2316994"/>
                <a:ext cx="1738462" cy="1738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251" name="Ovaal 268">
                <a:extLst>
                  <a:ext uri="{FF2B5EF4-FFF2-40B4-BE49-F238E27FC236}">
                    <a16:creationId xmlns:a16="http://schemas.microsoft.com/office/drawing/2014/main" id="{2951F263-1DC5-4040-A5C1-33CB4DE4F0A8}"/>
                  </a:ext>
                </a:extLst>
              </p:cNvPr>
              <p:cNvSpPr/>
              <p:nvPr/>
            </p:nvSpPr>
            <p:spPr>
              <a:xfrm>
                <a:off x="7385801" y="2380498"/>
                <a:ext cx="1611454" cy="161145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grpSp>
            <p:nvGrpSpPr>
              <p:cNvPr id="252" name="Group 251">
                <a:extLst>
                  <a:ext uri="{FF2B5EF4-FFF2-40B4-BE49-F238E27FC236}">
                    <a16:creationId xmlns:a16="http://schemas.microsoft.com/office/drawing/2014/main" id="{A53911DA-8056-4952-805A-83019E8AFCDB}"/>
                  </a:ext>
                </a:extLst>
              </p:cNvPr>
              <p:cNvGrpSpPr/>
              <p:nvPr/>
            </p:nvGrpSpPr>
            <p:grpSpPr>
              <a:xfrm>
                <a:off x="7534498" y="2727051"/>
                <a:ext cx="1313589" cy="826890"/>
                <a:chOff x="6875774" y="1926580"/>
                <a:chExt cx="1549400" cy="826890"/>
              </a:xfrm>
            </p:grpSpPr>
            <p:sp>
              <p:nvSpPr>
                <p:cNvPr id="279" name="Rectangle: Rounded Corners 278">
                  <a:extLst>
                    <a:ext uri="{FF2B5EF4-FFF2-40B4-BE49-F238E27FC236}">
                      <a16:creationId xmlns:a16="http://schemas.microsoft.com/office/drawing/2014/main" id="{2609E224-3BD0-44F7-8B35-39E894185D8C}"/>
                    </a:ext>
                  </a:extLst>
                </p:cNvPr>
                <p:cNvSpPr/>
                <p:nvPr/>
              </p:nvSpPr>
              <p:spPr>
                <a:xfrm>
                  <a:off x="6875774" y="1926580"/>
                  <a:ext cx="1549400" cy="826890"/>
                </a:xfrm>
                <a:prstGeom prst="roundRect">
                  <a:avLst/>
                </a:prstGeom>
                <a:solidFill>
                  <a:srgbClr val="CDCD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cxnSp>
              <p:nvCxnSpPr>
                <p:cNvPr id="280" name="Straight Connector 279">
                  <a:extLst>
                    <a:ext uri="{FF2B5EF4-FFF2-40B4-BE49-F238E27FC236}">
                      <a16:creationId xmlns:a16="http://schemas.microsoft.com/office/drawing/2014/main" id="{1CB58914-3666-4645-8CD0-520ABF0EF5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89390" y="2057744"/>
                  <a:ext cx="0" cy="567292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Straight Connector 280">
                  <a:extLst>
                    <a:ext uri="{FF2B5EF4-FFF2-40B4-BE49-F238E27FC236}">
                      <a16:creationId xmlns:a16="http://schemas.microsoft.com/office/drawing/2014/main" id="{54057BFF-9DBF-4E66-AC69-1BE69548F6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84627" y="2624514"/>
                  <a:ext cx="1287426" cy="0"/>
                </a:xfrm>
                <a:prstGeom prst="line">
                  <a:avLst/>
                </a:prstGeom>
                <a:ln w="9525">
                  <a:solidFill>
                    <a:srgbClr val="5A565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3" name="Google Shape;349;p22">
                <a:extLst>
                  <a:ext uri="{FF2B5EF4-FFF2-40B4-BE49-F238E27FC236}">
                    <a16:creationId xmlns:a16="http://schemas.microsoft.com/office/drawing/2014/main" id="{6650412B-F1BD-41B9-9883-FB2139F06792}"/>
                  </a:ext>
                </a:extLst>
              </p:cNvPr>
              <p:cNvSpPr/>
              <p:nvPr/>
            </p:nvSpPr>
            <p:spPr>
              <a:xfrm>
                <a:off x="7827819" y="3627915"/>
                <a:ext cx="726943" cy="2492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b="1" kern="0" dirty="0">
                    <a:solidFill>
                      <a:schemeClr val="accent1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SYDNEY</a:t>
                </a:r>
                <a:endParaRPr b="1" kern="0" dirty="0">
                  <a:solidFill>
                    <a:schemeClr val="accent1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A0488D64-C095-4602-AAD6-3F6161FCB5F8}"/>
                  </a:ext>
                </a:extLst>
              </p:cNvPr>
              <p:cNvGrpSpPr/>
              <p:nvPr/>
            </p:nvGrpSpPr>
            <p:grpSpPr>
              <a:xfrm flipV="1">
                <a:off x="7666118" y="2809218"/>
                <a:ext cx="1028799" cy="594429"/>
                <a:chOff x="7946387" y="4296660"/>
                <a:chExt cx="1213483" cy="701139"/>
              </a:xfrm>
            </p:grpSpPr>
            <p:grpSp>
              <p:nvGrpSpPr>
                <p:cNvPr id="255" name="Group 254">
                  <a:extLst>
                    <a:ext uri="{FF2B5EF4-FFF2-40B4-BE49-F238E27FC236}">
                      <a16:creationId xmlns:a16="http://schemas.microsoft.com/office/drawing/2014/main" id="{EDEBB909-6605-48C8-BDEC-0AFE2D9359AC}"/>
                    </a:ext>
                  </a:extLst>
                </p:cNvPr>
                <p:cNvGrpSpPr/>
                <p:nvPr/>
              </p:nvGrpSpPr>
              <p:grpSpPr>
                <a:xfrm>
                  <a:off x="7983528" y="4332660"/>
                  <a:ext cx="1139584" cy="635530"/>
                  <a:chOff x="7983550" y="4332658"/>
                  <a:chExt cx="1139581" cy="635530"/>
                </a:xfrm>
              </p:grpSpPr>
              <p:cxnSp>
                <p:nvCxnSpPr>
                  <p:cNvPr id="273" name="Straight Connector 272">
                    <a:extLst>
                      <a:ext uri="{FF2B5EF4-FFF2-40B4-BE49-F238E27FC236}">
                        <a16:creationId xmlns:a16="http://schemas.microsoft.com/office/drawing/2014/main" id="{0AAC23DD-78D7-44A9-9EF0-A94004C7F59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983550" y="4332658"/>
                    <a:ext cx="184684" cy="18258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4" name="Straight Connector 273">
                    <a:extLst>
                      <a:ext uri="{FF2B5EF4-FFF2-40B4-BE49-F238E27FC236}">
                        <a16:creationId xmlns:a16="http://schemas.microsoft.com/office/drawing/2014/main" id="{8C3E1CA8-D72E-4E81-864E-804E0B84C31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69374" y="4514413"/>
                    <a:ext cx="144936" cy="105923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5" name="Straight Connector 274">
                    <a:extLst>
                      <a:ext uri="{FF2B5EF4-FFF2-40B4-BE49-F238E27FC236}">
                        <a16:creationId xmlns:a16="http://schemas.microsoft.com/office/drawing/2014/main" id="{50B0CE93-3819-41A6-B8CA-384FC6C412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316354" y="4531295"/>
                    <a:ext cx="107373" cy="8904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6" name="Straight Connector 275">
                    <a:extLst>
                      <a:ext uri="{FF2B5EF4-FFF2-40B4-BE49-F238E27FC236}">
                        <a16:creationId xmlns:a16="http://schemas.microsoft.com/office/drawing/2014/main" id="{A65828C0-B05D-4440-A65A-DEDD6C6069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8423723" y="4529433"/>
                    <a:ext cx="86775" cy="23548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7" name="Straight Connector 276">
                    <a:extLst>
                      <a:ext uri="{FF2B5EF4-FFF2-40B4-BE49-F238E27FC236}">
                        <a16:creationId xmlns:a16="http://schemas.microsoft.com/office/drawing/2014/main" id="{960CC5DC-0848-47F5-B663-F0AE793626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10498" y="4657617"/>
                    <a:ext cx="241815" cy="107309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8" name="Straight Connector 277">
                    <a:extLst>
                      <a:ext uri="{FF2B5EF4-FFF2-40B4-BE49-F238E27FC236}">
                        <a16:creationId xmlns:a16="http://schemas.microsoft.com/office/drawing/2014/main" id="{32B5C749-2A43-42C7-8880-41CDA46E40B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52312" y="4657618"/>
                    <a:ext cx="370819" cy="310570"/>
                  </a:xfrm>
                  <a:prstGeom prst="line">
                    <a:avLst/>
                  </a:prstGeom>
                  <a:ln w="25400" cap="rnd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389138C8-E6EA-421E-8A6A-923BDA69473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946387" y="4296660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8873EE8D-8388-4B2E-9924-4767FDA09C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26206" y="447447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58B8ED72-F37F-4BDD-A8D5-68F5617229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75824" y="4583507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3BDE9AD9-B3F8-4840-9519-FCDEFD6465C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89963" y="450314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7D7C4F80-4832-4EAF-AA75-9EB891BF521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482141" y="4725468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61" name="Oval 260">
                  <a:extLst>
                    <a:ext uri="{FF2B5EF4-FFF2-40B4-BE49-F238E27FC236}">
                      <a16:creationId xmlns:a16="http://schemas.microsoft.com/office/drawing/2014/main" id="{C5A1FE1B-3C81-4903-8137-E0D5253F217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19083" y="4628003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  <p:sp>
              <p:nvSpPr>
                <p:cNvPr id="270" name="Oval 269">
                  <a:extLst>
                    <a:ext uri="{FF2B5EF4-FFF2-40B4-BE49-F238E27FC236}">
                      <a16:creationId xmlns:a16="http://schemas.microsoft.com/office/drawing/2014/main" id="{E8A2E3D0-B31A-4332-90D2-E1EFC8F064D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087870" y="4925799"/>
                  <a:ext cx="72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 sz="1600"/>
                </a:p>
              </p:txBody>
            </p:sp>
          </p:grpSp>
        </p:grp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2225621E-E360-4006-B02E-C33F8211813B}"/>
              </a:ext>
            </a:extLst>
          </p:cNvPr>
          <p:cNvGrpSpPr/>
          <p:nvPr/>
        </p:nvGrpSpPr>
        <p:grpSpPr>
          <a:xfrm>
            <a:off x="9868453" y="3443069"/>
            <a:ext cx="1738462" cy="1738462"/>
            <a:chOff x="9119057" y="3443069"/>
            <a:chExt cx="1738462" cy="1738462"/>
          </a:xfrm>
        </p:grpSpPr>
        <p:sp>
          <p:nvSpPr>
            <p:cNvPr id="309" name="Ovaal 268">
              <a:extLst>
                <a:ext uri="{FF2B5EF4-FFF2-40B4-BE49-F238E27FC236}">
                  <a16:creationId xmlns:a16="http://schemas.microsoft.com/office/drawing/2014/main" id="{0F485E69-4313-4A75-8569-E722A1371DD9}"/>
                </a:ext>
              </a:extLst>
            </p:cNvPr>
            <p:cNvSpPr/>
            <p:nvPr/>
          </p:nvSpPr>
          <p:spPr>
            <a:xfrm>
              <a:off x="9119057" y="3443069"/>
              <a:ext cx="1738462" cy="173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310" name="Ovaal 268">
              <a:extLst>
                <a:ext uri="{FF2B5EF4-FFF2-40B4-BE49-F238E27FC236}">
                  <a16:creationId xmlns:a16="http://schemas.microsoft.com/office/drawing/2014/main" id="{45D5F039-AA2A-4E5C-B670-6BC4ECE1C5D6}"/>
                </a:ext>
              </a:extLst>
            </p:cNvPr>
            <p:cNvSpPr/>
            <p:nvPr/>
          </p:nvSpPr>
          <p:spPr>
            <a:xfrm>
              <a:off x="9182561" y="3506573"/>
              <a:ext cx="1611454" cy="161145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sp>
          <p:nvSpPr>
            <p:cNvPr id="311" name="Google Shape;349;p22">
              <a:extLst>
                <a:ext uri="{FF2B5EF4-FFF2-40B4-BE49-F238E27FC236}">
                  <a16:creationId xmlns:a16="http://schemas.microsoft.com/office/drawing/2014/main" id="{32B60EE9-BADE-4D13-BC45-8DA85F17BF0E}"/>
                </a:ext>
              </a:extLst>
            </p:cNvPr>
            <p:cNvSpPr/>
            <p:nvPr/>
          </p:nvSpPr>
          <p:spPr>
            <a:xfrm>
              <a:off x="9596873" y="4761138"/>
              <a:ext cx="732956" cy="2492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-US" b="1" kern="0" dirty="0">
                  <a:solidFill>
                    <a:srgbClr val="404040"/>
                  </a:solidFill>
                  <a:latin typeface="+mj-lt"/>
                  <a:ea typeface="Roboto Light"/>
                  <a:cs typeface="Segoe UI Light" panose="020B0502040204020203" pitchFamily="34" charset="0"/>
                  <a:sym typeface="Roboto Light"/>
                </a:rPr>
                <a:t>LA</a:t>
              </a:r>
              <a:endParaRPr sz="1600" b="1" kern="0" dirty="0">
                <a:solidFill>
                  <a:srgbClr val="404040"/>
                </a:solidFill>
                <a:latin typeface="+mj-l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312" name="Rectangle: Rounded Corners 311">
              <a:extLst>
                <a:ext uri="{FF2B5EF4-FFF2-40B4-BE49-F238E27FC236}">
                  <a16:creationId xmlns:a16="http://schemas.microsoft.com/office/drawing/2014/main" id="{2199808A-DFFB-419B-A1C9-5B395730C4A3}"/>
                </a:ext>
              </a:extLst>
            </p:cNvPr>
            <p:cNvSpPr/>
            <p:nvPr/>
          </p:nvSpPr>
          <p:spPr>
            <a:xfrm>
              <a:off x="9347980" y="3834547"/>
              <a:ext cx="1313589" cy="826890"/>
            </a:xfrm>
            <a:prstGeom prst="roundRect">
              <a:avLst/>
            </a:prstGeom>
            <a:solidFill>
              <a:srgbClr val="CDCD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sz="1600"/>
            </a:p>
          </p:txBody>
        </p:sp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5D69835A-5EC4-4F98-BA64-274FED7F1258}"/>
                </a:ext>
              </a:extLst>
            </p:cNvPr>
            <p:cNvGrpSpPr/>
            <p:nvPr/>
          </p:nvGrpSpPr>
          <p:grpSpPr>
            <a:xfrm>
              <a:off x="9462476" y="4014199"/>
              <a:ext cx="1075403" cy="459184"/>
              <a:chOff x="9099433" y="1869482"/>
              <a:chExt cx="1268476" cy="541618"/>
            </a:xfrm>
          </p:grpSpPr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83C78B82-FC8F-47EA-AF93-AD71417AB79C}"/>
                  </a:ext>
                </a:extLst>
              </p:cNvPr>
              <p:cNvGrpSpPr/>
              <p:nvPr/>
            </p:nvGrpSpPr>
            <p:grpSpPr>
              <a:xfrm>
                <a:off x="9135431" y="1898772"/>
                <a:ext cx="1191179" cy="483545"/>
                <a:chOff x="9210675" y="2962276"/>
                <a:chExt cx="2003847" cy="813435"/>
              </a:xfrm>
            </p:grpSpPr>
            <p:cxnSp>
              <p:nvCxnSpPr>
                <p:cNvPr id="325" name="Straight Connector 324">
                  <a:extLst>
                    <a:ext uri="{FF2B5EF4-FFF2-40B4-BE49-F238E27FC236}">
                      <a16:creationId xmlns:a16="http://schemas.microsoft.com/office/drawing/2014/main" id="{24CD974E-A2AE-4762-87A4-648B4FBBAA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10675" y="3440430"/>
                  <a:ext cx="354330" cy="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6" name="Straight Connector 325">
                  <a:extLst>
                    <a:ext uri="{FF2B5EF4-FFF2-40B4-BE49-F238E27FC236}">
                      <a16:creationId xmlns:a16="http://schemas.microsoft.com/office/drawing/2014/main" id="{D8CF85B6-6E86-46F0-B2DD-C320438BD6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565005" y="3440430"/>
                  <a:ext cx="259080" cy="335280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Straight Connector 326">
                  <a:extLst>
                    <a:ext uri="{FF2B5EF4-FFF2-40B4-BE49-F238E27FC236}">
                      <a16:creationId xmlns:a16="http://schemas.microsoft.com/office/drawing/2014/main" id="{F5983B32-4BD8-4F36-9964-8696572B66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24085" y="3439477"/>
                  <a:ext cx="178593" cy="336234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8" name="Straight Connector 327">
                  <a:extLst>
                    <a:ext uri="{FF2B5EF4-FFF2-40B4-BE49-F238E27FC236}">
                      <a16:creationId xmlns:a16="http://schemas.microsoft.com/office/drawing/2014/main" id="{D9AD3BFA-D9AA-4BDB-A1C0-FC8669843B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002678" y="3252788"/>
                  <a:ext cx="117635" cy="186689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Straight Connector 328">
                  <a:extLst>
                    <a:ext uri="{FF2B5EF4-FFF2-40B4-BE49-F238E27FC236}">
                      <a16:creationId xmlns:a16="http://schemas.microsoft.com/office/drawing/2014/main" id="{85D8A7A4-8737-4967-B970-CCC4B034AB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143984" y="2962276"/>
                  <a:ext cx="443055" cy="264468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Straight Connector 329">
                  <a:extLst>
                    <a:ext uri="{FF2B5EF4-FFF2-40B4-BE49-F238E27FC236}">
                      <a16:creationId xmlns:a16="http://schemas.microsoft.com/office/drawing/2014/main" id="{6DA77B4B-CCED-4500-A633-E58D57D217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587037" y="2962276"/>
                  <a:ext cx="627485" cy="157303"/>
                </a:xfrm>
                <a:prstGeom prst="line">
                  <a:avLst/>
                </a:prstGeom>
                <a:ln w="25400" cap="rnd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18" name="Oval 317">
                <a:extLst>
                  <a:ext uri="{FF2B5EF4-FFF2-40B4-BE49-F238E27FC236}">
                    <a16:creationId xmlns:a16="http://schemas.microsoft.com/office/drawing/2014/main" id="{C6F8D2A7-BEFF-410A-B47C-BE4C9F420F0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09943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19" name="Oval 318">
                <a:extLst>
                  <a:ext uri="{FF2B5EF4-FFF2-40B4-BE49-F238E27FC236}">
                    <a16:creationId xmlns:a16="http://schemas.microsoft.com/office/drawing/2014/main" id="{C0437D26-A01C-492E-ACED-0B9A966857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02413" y="214484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0" name="Oval 319">
                <a:extLst>
                  <a:ext uri="{FF2B5EF4-FFF2-40B4-BE49-F238E27FC236}">
                    <a16:creationId xmlns:a16="http://schemas.microsoft.com/office/drawing/2014/main" id="{DEE9E14D-0E68-44A1-B7C0-FFF01DA178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464080" y="233910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A944CBF1-8995-465F-9E74-9C015953C49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68789" y="215364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2" name="Oval 321">
                <a:extLst>
                  <a:ext uri="{FF2B5EF4-FFF2-40B4-BE49-F238E27FC236}">
                    <a16:creationId xmlns:a16="http://schemas.microsoft.com/office/drawing/2014/main" id="{EAC98402-9761-47AD-8E07-91D7B0E225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654243" y="2019976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3" name="Oval 322">
                <a:extLst>
                  <a:ext uri="{FF2B5EF4-FFF2-40B4-BE49-F238E27FC236}">
                    <a16:creationId xmlns:a16="http://schemas.microsoft.com/office/drawing/2014/main" id="{D56A2D4F-E084-4B9E-A97E-13A08FE7C5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20681" y="186948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732C1073-0150-4157-BB8B-44696E93A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295909" y="196008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4040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sz="1600"/>
              </a:p>
            </p:txBody>
          </p:sp>
        </p:grp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28D8C2F-9830-4629-9E8C-C75233F443D8}"/>
                </a:ext>
              </a:extLst>
            </p:cNvPr>
            <p:cNvCxnSpPr>
              <a:cxnSpLocks/>
            </p:cNvCxnSpPr>
            <p:nvPr/>
          </p:nvCxnSpPr>
          <p:spPr>
            <a:xfrm>
              <a:off x="9444304" y="3965711"/>
              <a:ext cx="0" cy="567292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2E2CD550-7383-4EDB-8184-79A265B83C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40265" y="4536925"/>
              <a:ext cx="1091486" cy="0"/>
            </a:xfrm>
            <a:prstGeom prst="line">
              <a:avLst/>
            </a:prstGeom>
            <a:ln w="9525">
              <a:solidFill>
                <a:srgbClr val="5A56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AB446A8D-2BFA-4FBD-99A8-1F48E5087906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0FB91E4D-5A55-4F5B-92AE-A2D69A6240EF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7CF5D06-55E5-42C5-8BF4-489067012111}"/>
              </a:ext>
            </a:extLst>
          </p:cNvPr>
          <p:cNvGrpSpPr/>
          <p:nvPr/>
        </p:nvGrpSpPr>
        <p:grpSpPr>
          <a:xfrm>
            <a:off x="7390897" y="843509"/>
            <a:ext cx="4023342" cy="1465525"/>
            <a:chOff x="7390897" y="843509"/>
            <a:chExt cx="4023342" cy="1465525"/>
          </a:xfrm>
        </p:grpSpPr>
        <p:sp>
          <p:nvSpPr>
            <p:cNvPr id="180" name="Cloud 179">
              <a:extLst>
                <a:ext uri="{FF2B5EF4-FFF2-40B4-BE49-F238E27FC236}">
                  <a16:creationId xmlns:a16="http://schemas.microsoft.com/office/drawing/2014/main" id="{61ED25E7-1706-4A8B-960E-0A0BF5C079D7}"/>
                </a:ext>
              </a:extLst>
            </p:cNvPr>
            <p:cNvSpPr/>
            <p:nvPr/>
          </p:nvSpPr>
          <p:spPr>
            <a:xfrm>
              <a:off x="7394171" y="854904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7203E782-D6D5-4473-AF25-7D410AA85A9F}"/>
                    </a:ext>
                  </a:extLst>
                </p:cNvPr>
                <p:cNvSpPr txBox="1"/>
                <p:nvPr/>
              </p:nvSpPr>
              <p:spPr>
                <a:xfrm>
                  <a:off x="7804506" y="939837"/>
                  <a:ext cx="3493836" cy="12420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kern="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𝐶𝑜𝑟𝑟</m:t>
                        </m:r>
                        <m:d>
                          <m:dPr>
                            <m:ctrlPr>
                              <a:rPr lang="en-US" sz="2000" i="1" ker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1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0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3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b="0" i="1" kern="0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+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5</m:t>
                                    </m:r>
                                  </m:e>
                                  <m:e>
                                    <m:r>
                                      <a:rPr lang="en-US" sz="2000" ker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4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  <m:r>
                              <a:rPr lang="en-US" sz="2000" b="0" i="1" kern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Segoe UI Light" panose="020B0502040204020203" pitchFamily="34" charset="0"/>
                              </a:rPr>
                              <m:t>,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US" sz="2000" i="1" ker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egoe UI Light" panose="020B0502040204020203" pitchFamily="34" charset="0"/>
                                  </a:rPr>
                                </m:ctrlPr>
                              </m:dPr>
                              <m:e>
                                <m:eqArr>
                                  <m:eqArrPr>
                                    <m:ctrlPr>
                                      <a:rPr lang="en-US" sz="200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2</m:t>
                                    </m:r>
                                  </m:e>
                                  <m:e>
                                    <m:r>
                                      <a:rPr lang="en-US" sz="2000" b="0" i="1" kern="0" smtClea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0</m:t>
                                    </m:r>
                                  </m:e>
                                  <m:e>
                                    <m:r>
                                      <a:rPr lang="en-US" sz="2000" i="1" kern="0">
                                        <a:solidFill>
                                          <a:srgbClr val="404040"/>
                                        </a:solidFill>
                                        <a:latin typeface="Cambria Math" panose="02040503050406030204" pitchFamily="18" charset="0"/>
                                        <a:cs typeface="Segoe UI Light" panose="020B0502040204020203" pitchFamily="34" charset="0"/>
                                      </a:rPr>
                                      <m:t>.</m:t>
                                    </m:r>
                                  </m:e>
                                </m:eqArr>
                              </m:e>
                            </m:d>
                          </m:e>
                        </m:d>
                        <m:r>
                          <a:rPr lang="en-US" sz="2000" ker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=</m:t>
                        </m:r>
                        <m:r>
                          <a:rPr lang="en-US" sz="2000" kern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0</m:t>
                        </m:r>
                        <m:r>
                          <a:rPr lang="en-US" sz="2000" b="0" i="0" kern="0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  <a:cs typeface="Segoe UI Light" panose="020B0502040204020203" pitchFamily="34" charset="0"/>
                          </a:rPr>
                          <m:t>.9</m:t>
                        </m:r>
                      </m:oMath>
                    </m:oMathPara>
                  </a14:m>
                  <a:endParaRPr lang="en-NL" sz="2000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 Light" panose="020B0502040204020203" pitchFamily="34" charset="0"/>
                  </a:endParaRPr>
                </a:p>
              </p:txBody>
            </p:sp>
          </mc:Choice>
          <mc:Fallback xmlns=""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7203E782-D6D5-4473-AF25-7D410AA85A9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04506" y="939837"/>
                  <a:ext cx="3493836" cy="1242007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788081AD-92BA-449F-BA20-97097D20FFDA}"/>
                    </a:ext>
                  </a:extLst>
                </p:cNvPr>
                <p:cNvSpPr txBox="1"/>
                <p:nvPr/>
              </p:nvSpPr>
              <p:spPr>
                <a:xfrm rot="5400000">
                  <a:off x="9463175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788081AD-92BA-449F-BA20-97097D20FFD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463175" y="1757477"/>
                  <a:ext cx="390940" cy="40011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A91E17EE-AD92-4A98-A8DC-ACF674A0C9A2}"/>
                    </a:ext>
                  </a:extLst>
                </p:cNvPr>
                <p:cNvSpPr txBox="1"/>
                <p:nvPr/>
              </p:nvSpPr>
              <p:spPr>
                <a:xfrm rot="5400000">
                  <a:off x="8808153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A91E17EE-AD92-4A98-A8DC-ACF674A0C9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808153" y="1757477"/>
                  <a:ext cx="390940" cy="400110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4" name="Cloud 183">
              <a:extLst>
                <a:ext uri="{FF2B5EF4-FFF2-40B4-BE49-F238E27FC236}">
                  <a16:creationId xmlns:a16="http://schemas.microsoft.com/office/drawing/2014/main" id="{0E63BDF4-CBCF-470A-ABFD-EDDF53055A9C}"/>
                </a:ext>
              </a:extLst>
            </p:cNvPr>
            <p:cNvSpPr/>
            <p:nvPr/>
          </p:nvSpPr>
          <p:spPr>
            <a:xfrm>
              <a:off x="7390897" y="843509"/>
              <a:ext cx="4020068" cy="1454130"/>
            </a:xfrm>
            <a:prstGeom prst="cloud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A02C911F-BDFF-4A3F-905D-B97CED15A3B8}"/>
                    </a:ext>
                  </a:extLst>
                </p:cNvPr>
                <p:cNvSpPr txBox="1"/>
                <p:nvPr/>
              </p:nvSpPr>
              <p:spPr>
                <a:xfrm rot="5400000">
                  <a:off x="9954758" y="1757477"/>
                  <a:ext cx="390940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dirty="0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..</m:t>
                        </m:r>
                      </m:oMath>
                    </m:oMathPara>
                  </a14:m>
                  <a:endParaRPr lang="en-NL" sz="2000" dirty="0">
                    <a:solidFill>
                      <a:srgbClr val="40404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A02C911F-BDFF-4A3F-905D-B97CED15A3B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9954758" y="1757477"/>
                  <a:ext cx="390940" cy="400110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86E6C504-DA77-45B8-8404-C589844CB516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187" name="Google Shape;349;p22">
              <a:extLst>
                <a:ext uri="{FF2B5EF4-FFF2-40B4-BE49-F238E27FC236}">
                  <a16:creationId xmlns:a16="http://schemas.microsoft.com/office/drawing/2014/main" id="{A1C69D5E-DBF0-4D12-BFC0-63F75FB95936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188" name="Picture 187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15226336-2084-457D-882B-BE30DDB32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0BB07A4-E909-4044-87A5-3F8A19F00940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190" name="Picture 189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F55749C0-B66C-49C0-B0B4-02498E1EC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191" name="Google Shape;349;p22">
              <a:extLst>
                <a:ext uri="{FF2B5EF4-FFF2-40B4-BE49-F238E27FC236}">
                  <a16:creationId xmlns:a16="http://schemas.microsoft.com/office/drawing/2014/main" id="{BD5FDA67-7895-44C5-867E-B419B9774D23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A36628-C38F-4A30-A000-83D226BF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52182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0</a:t>
            </a:fld>
            <a:endParaRPr lang="en-NL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89FB7B7-288E-4692-A6E1-3312F1B1E93B}"/>
              </a:ext>
            </a:extLst>
          </p:cNvPr>
          <p:cNvSpPr txBox="1"/>
          <p:nvPr/>
        </p:nvSpPr>
        <p:spPr>
          <a:xfrm>
            <a:off x="5057093" y="2224265"/>
            <a:ext cx="2077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400" b="1" dirty="0" err="1">
                <a:solidFill>
                  <a:srgbClr val="C81919"/>
                </a:solidFill>
              </a:rPr>
              <a:t>Other</a:t>
            </a:r>
            <a:r>
              <a:rPr lang="nl-NL" sz="2400" b="1" dirty="0">
                <a:solidFill>
                  <a:srgbClr val="C81919"/>
                </a:solidFill>
              </a:rPr>
              <a:t> datas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C9383-4651-44B6-BCB8-7CC9C9DD85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8763" y="2685930"/>
            <a:ext cx="8414586" cy="290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127643"/>
      </p:ext>
    </p:extLst>
  </p:cSld>
  <p:clrMapOvr>
    <a:masterClrMapping/>
  </p:clrMapOvr>
  <p:transition spd="slow">
    <p:push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experi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1</a:t>
            </a:fld>
            <a:endParaRPr lang="en-NL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5E0D86D-A5C1-4773-B315-2B1C78AE4178}"/>
              </a:ext>
            </a:extLst>
          </p:cNvPr>
          <p:cNvGrpSpPr/>
          <p:nvPr/>
        </p:nvGrpSpPr>
        <p:grpSpPr>
          <a:xfrm>
            <a:off x="2544007" y="2428496"/>
            <a:ext cx="2682868" cy="2886099"/>
            <a:chOff x="8780397" y="3464592"/>
            <a:chExt cx="2682868" cy="2886099"/>
          </a:xfrm>
        </p:grpSpPr>
        <p:sp>
          <p:nvSpPr>
            <p:cNvPr id="52" name="Tekstvak 51">
              <a:extLst>
                <a:ext uri="{FF2B5EF4-FFF2-40B4-BE49-F238E27FC236}">
                  <a16:creationId xmlns:a16="http://schemas.microsoft.com/office/drawing/2014/main" id="{E0066C0F-3109-4964-9DF3-B064666140C0}"/>
                </a:ext>
              </a:extLst>
            </p:cNvPr>
            <p:cNvSpPr txBox="1"/>
            <p:nvPr/>
          </p:nvSpPr>
          <p:spPr>
            <a:xfrm>
              <a:off x="9407225" y="3464592"/>
              <a:ext cx="19549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b="1" dirty="0" err="1">
                  <a:solidFill>
                    <a:srgbClr val="C81919"/>
                  </a:solidFill>
                </a:rPr>
                <a:t>Sensitivity</a:t>
              </a:r>
              <a:endParaRPr lang="en-NL" b="1" dirty="0">
                <a:solidFill>
                  <a:srgbClr val="C81919"/>
                </a:solidFill>
              </a:endParaRPr>
            </a:p>
          </p:txBody>
        </p:sp>
        <p:pic>
          <p:nvPicPr>
            <p:cNvPr id="53" name="Picture 8">
              <a:extLst>
                <a:ext uri="{FF2B5EF4-FFF2-40B4-BE49-F238E27FC236}">
                  <a16:creationId xmlns:a16="http://schemas.microsoft.com/office/drawing/2014/main" id="{75BD01FB-3F6B-4BED-B6CE-D923FFD72F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80397" y="3794452"/>
              <a:ext cx="2682868" cy="25562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C2DEFB7-C4C9-4D69-98D6-E1167244CC41}"/>
              </a:ext>
            </a:extLst>
          </p:cNvPr>
          <p:cNvGrpSpPr/>
          <p:nvPr/>
        </p:nvGrpSpPr>
        <p:grpSpPr>
          <a:xfrm>
            <a:off x="6759564" y="2486538"/>
            <a:ext cx="3362267" cy="2692148"/>
            <a:chOff x="4334488" y="1628178"/>
            <a:chExt cx="3362267" cy="2692148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3C956E1-EB64-4B76-9B4C-FC0E8A059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716998" y="1882966"/>
              <a:ext cx="2495333" cy="243736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FFC202F-33B2-4B0C-B9A7-07782669956C}"/>
                </a:ext>
              </a:extLst>
            </p:cNvPr>
            <p:cNvSpPr txBox="1"/>
            <p:nvPr/>
          </p:nvSpPr>
          <p:spPr>
            <a:xfrm>
              <a:off x="4334488" y="1628178"/>
              <a:ext cx="33622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b="1" dirty="0">
                  <a:solidFill>
                    <a:srgbClr val="C81919"/>
                  </a:solidFill>
                </a:rPr>
                <a:t>4-correlations</a:t>
              </a:r>
              <a:r>
                <a:rPr lang="nl-NL" dirty="0"/>
                <a:t> – </a:t>
              </a:r>
              <a:r>
                <a:rPr lang="nl-NL" b="1" dirty="0">
                  <a:solidFill>
                    <a:srgbClr val="C81919"/>
                  </a:solidFill>
                </a:rPr>
                <a:t>Multiple</a:t>
              </a:r>
              <a:r>
                <a:rPr lang="nl-NL" dirty="0"/>
                <a:t> </a:t>
              </a:r>
              <a:r>
                <a:rPr lang="nl-NL" b="1" dirty="0">
                  <a:solidFill>
                    <a:srgbClr val="C81919"/>
                  </a:solidFill>
                </a:rPr>
                <a:t>Pears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250040"/>
      </p:ext>
    </p:extLst>
  </p:cSld>
  <p:clrMapOvr>
    <a:masterClrMapping/>
  </p:clrMapOvr>
  <p:transition spd="slow">
    <p:push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dditional constraints</a:t>
            </a:r>
          </a:p>
        </p:txBody>
      </p:sp>
      <p:grpSp>
        <p:nvGrpSpPr>
          <p:cNvPr id="74" name="Group 12">
            <a:extLst>
              <a:ext uri="{FF2B5EF4-FFF2-40B4-BE49-F238E27FC236}">
                <a16:creationId xmlns:a16="http://schemas.microsoft.com/office/drawing/2014/main" id="{CD286840-509B-40D5-A4C7-3EE4B3C7FEDF}"/>
              </a:ext>
            </a:extLst>
          </p:cNvPr>
          <p:cNvGrpSpPr/>
          <p:nvPr/>
        </p:nvGrpSpPr>
        <p:grpSpPr>
          <a:xfrm>
            <a:off x="874713" y="3460293"/>
            <a:ext cx="487364" cy="368300"/>
            <a:chOff x="8102600" y="2926611"/>
            <a:chExt cx="487364" cy="368300"/>
          </a:xfrm>
        </p:grpSpPr>
        <p:sp>
          <p:nvSpPr>
            <p:cNvPr id="76" name="Oval 179">
              <a:extLst>
                <a:ext uri="{FF2B5EF4-FFF2-40B4-BE49-F238E27FC236}">
                  <a16:creationId xmlns:a16="http://schemas.microsoft.com/office/drawing/2014/main" id="{1BFD490D-4C90-42DA-A826-B9500AF425A1}"/>
                </a:ext>
              </a:extLst>
            </p:cNvPr>
            <p:cNvSpPr/>
            <p:nvPr/>
          </p:nvSpPr>
          <p:spPr>
            <a:xfrm>
              <a:off x="8102600" y="2926611"/>
              <a:ext cx="368300" cy="368300"/>
            </a:xfrm>
            <a:prstGeom prst="ellipse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188">
              <a:extLst>
                <a:ext uri="{FF2B5EF4-FFF2-40B4-BE49-F238E27FC236}">
                  <a16:creationId xmlns:a16="http://schemas.microsoft.com/office/drawing/2014/main" id="{0AEB8734-DB0E-48C6-B5B2-3D5B85340970}"/>
                </a:ext>
              </a:extLst>
            </p:cNvPr>
            <p:cNvSpPr/>
            <p:nvPr/>
          </p:nvSpPr>
          <p:spPr>
            <a:xfrm>
              <a:off x="8221664" y="2926611"/>
              <a:ext cx="368300" cy="368300"/>
            </a:xfrm>
            <a:prstGeom prst="ellipse">
              <a:avLst/>
            </a:prstGeom>
            <a:noFill/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5" name="TextBox 192">
            <a:extLst>
              <a:ext uri="{FF2B5EF4-FFF2-40B4-BE49-F238E27FC236}">
                <a16:creationId xmlns:a16="http://schemas.microsoft.com/office/drawing/2014/main" id="{6FF9AFA5-26CD-412F-B74B-7A2FA2D62A20}"/>
              </a:ext>
            </a:extLst>
          </p:cNvPr>
          <p:cNvSpPr txBox="1"/>
          <p:nvPr/>
        </p:nvSpPr>
        <p:spPr>
          <a:xfrm>
            <a:off x="1687406" y="3321277"/>
            <a:ext cx="395971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Minimum jump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: only consider combinations that would not have been found with pairwise correlation analysis</a:t>
            </a: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80" name="Group 13">
            <a:extLst>
              <a:ext uri="{FF2B5EF4-FFF2-40B4-BE49-F238E27FC236}">
                <a16:creationId xmlns:a16="http://schemas.microsoft.com/office/drawing/2014/main" id="{36061C42-D077-4AB9-B347-EAD162BD65BB}"/>
              </a:ext>
            </a:extLst>
          </p:cNvPr>
          <p:cNvGrpSpPr/>
          <p:nvPr/>
        </p:nvGrpSpPr>
        <p:grpSpPr>
          <a:xfrm>
            <a:off x="1362077" y="2250580"/>
            <a:ext cx="487364" cy="368300"/>
            <a:chOff x="8102600" y="2032000"/>
            <a:chExt cx="487364" cy="368300"/>
          </a:xfrm>
        </p:grpSpPr>
        <p:sp>
          <p:nvSpPr>
            <p:cNvPr id="82" name="Oval 2">
              <a:extLst>
                <a:ext uri="{FF2B5EF4-FFF2-40B4-BE49-F238E27FC236}">
                  <a16:creationId xmlns:a16="http://schemas.microsoft.com/office/drawing/2014/main" id="{01AF32A3-88DF-438C-87AA-D4EB593340E4}"/>
                </a:ext>
              </a:extLst>
            </p:cNvPr>
            <p:cNvSpPr/>
            <p:nvPr/>
          </p:nvSpPr>
          <p:spPr>
            <a:xfrm>
              <a:off x="8102600" y="2032000"/>
              <a:ext cx="368300" cy="368300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187">
              <a:extLst>
                <a:ext uri="{FF2B5EF4-FFF2-40B4-BE49-F238E27FC236}">
                  <a16:creationId xmlns:a16="http://schemas.microsoft.com/office/drawing/2014/main" id="{BA89A1DA-8D11-4C1A-B07F-93B64C85FA54}"/>
                </a:ext>
              </a:extLst>
            </p:cNvPr>
            <p:cNvSpPr/>
            <p:nvPr/>
          </p:nvSpPr>
          <p:spPr>
            <a:xfrm>
              <a:off x="8221664" y="2032000"/>
              <a:ext cx="368300" cy="36830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TextBox 191">
            <a:extLst>
              <a:ext uri="{FF2B5EF4-FFF2-40B4-BE49-F238E27FC236}">
                <a16:creationId xmlns:a16="http://schemas.microsoft.com/office/drawing/2014/main" id="{1CCC7179-7448-489B-93AD-BDABA7768BAC}"/>
              </a:ext>
            </a:extLst>
          </p:cNvPr>
          <p:cNvSpPr txBox="1"/>
          <p:nvPr/>
        </p:nvSpPr>
        <p:spPr>
          <a:xfrm>
            <a:off x="2197142" y="2213052"/>
            <a:ext cx="3687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Irreducibility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: prioritize smaller combinations in result set</a:t>
            </a:r>
            <a:endParaRPr lang="en-US" sz="1400" b="1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40A0B8-7D02-4DD3-88D7-04610678E76D}"/>
              </a:ext>
            </a:extLst>
          </p:cNvPr>
          <p:cNvGrpSpPr/>
          <p:nvPr/>
        </p:nvGrpSpPr>
        <p:grpSpPr>
          <a:xfrm>
            <a:off x="6571907" y="1156686"/>
            <a:ext cx="4652820" cy="2081424"/>
            <a:chOff x="6571907" y="1156686"/>
            <a:chExt cx="4652820" cy="208142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7164371-4671-4435-ADA4-E30C4C4104F7}"/>
                </a:ext>
              </a:extLst>
            </p:cNvPr>
            <p:cNvSpPr/>
            <p:nvPr/>
          </p:nvSpPr>
          <p:spPr>
            <a:xfrm>
              <a:off x="6571907" y="1156686"/>
              <a:ext cx="4652820" cy="208142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9" name="TextBox 191">
              <a:extLst>
                <a:ext uri="{FF2B5EF4-FFF2-40B4-BE49-F238E27FC236}">
                  <a16:creationId xmlns:a16="http://schemas.microsoft.com/office/drawing/2014/main" id="{86F58823-E812-4C96-83B3-E30FFD099F6D}"/>
                </a:ext>
              </a:extLst>
            </p:cNvPr>
            <p:cNvSpPr txBox="1"/>
            <p:nvPr/>
          </p:nvSpPr>
          <p:spPr>
            <a:xfrm>
              <a:off x="8385218" y="1241534"/>
              <a:ext cx="102619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rreducibility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ACED923-C780-4A28-AFC1-87ACD5120D45}"/>
                </a:ext>
              </a:extLst>
            </p:cNvPr>
            <p:cNvGrpSpPr/>
            <p:nvPr/>
          </p:nvGrpSpPr>
          <p:grpSpPr>
            <a:xfrm>
              <a:off x="8989186" y="1885607"/>
              <a:ext cx="1923102" cy="1073020"/>
              <a:chOff x="8989186" y="1885607"/>
              <a:chExt cx="1923102" cy="1073020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ADAE6187-29AE-4695-BEA5-C8C1FEC84C61}"/>
                  </a:ext>
                </a:extLst>
              </p:cNvPr>
              <p:cNvSpPr/>
              <p:nvPr/>
            </p:nvSpPr>
            <p:spPr>
              <a:xfrm>
                <a:off x="8989186" y="1885607"/>
                <a:ext cx="1923102" cy="107302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3" name="TextBox 191">
                <a:extLst>
                  <a:ext uri="{FF2B5EF4-FFF2-40B4-BE49-F238E27FC236}">
                    <a16:creationId xmlns:a16="http://schemas.microsoft.com/office/drawing/2014/main" id="{41EBFF9A-70FD-4F52-A783-2EBD1D354997}"/>
                  </a:ext>
                </a:extLst>
              </p:cNvPr>
              <p:cNvSpPr txBox="1"/>
              <p:nvPr/>
            </p:nvSpPr>
            <p:spPr>
              <a:xfrm>
                <a:off x="9550050" y="1927171"/>
                <a:ext cx="801375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sult set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E3A280E-7875-4CA3-B737-45F199A6A04E}"/>
                </a:ext>
              </a:extLst>
            </p:cNvPr>
            <p:cNvGrpSpPr/>
            <p:nvPr/>
          </p:nvGrpSpPr>
          <p:grpSpPr>
            <a:xfrm>
              <a:off x="7355255" y="2154950"/>
              <a:ext cx="584220" cy="526975"/>
              <a:chOff x="7275288" y="2189924"/>
              <a:chExt cx="584220" cy="526975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5DEA83E-7286-4573-9AFB-6D788EA68B17}"/>
                  </a:ext>
                </a:extLst>
              </p:cNvPr>
              <p:cNvSpPr/>
              <p:nvPr/>
            </p:nvSpPr>
            <p:spPr>
              <a:xfrm>
                <a:off x="7275288" y="2189924"/>
                <a:ext cx="526975" cy="526975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4" name="TextBox 191">
                <a:extLst>
                  <a:ext uri="{FF2B5EF4-FFF2-40B4-BE49-F238E27FC236}">
                    <a16:creationId xmlns:a16="http://schemas.microsoft.com/office/drawing/2014/main" id="{597AE4D6-9FAB-4D22-870C-1EA7314F670E}"/>
                  </a:ext>
                </a:extLst>
              </p:cNvPr>
              <p:cNvSpPr txBox="1"/>
              <p:nvPr/>
            </p:nvSpPr>
            <p:spPr>
              <a:xfrm>
                <a:off x="7332533" y="2345959"/>
                <a:ext cx="526975" cy="214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BCD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6FD094D3-BC81-4659-84D4-9F09ACE4135B}"/>
                </a:ext>
              </a:extLst>
            </p:cNvPr>
            <p:cNvGrpSpPr/>
            <p:nvPr/>
          </p:nvGrpSpPr>
          <p:grpSpPr>
            <a:xfrm>
              <a:off x="9698507" y="2262403"/>
              <a:ext cx="584220" cy="526975"/>
              <a:chOff x="7275288" y="2189924"/>
              <a:chExt cx="584220" cy="526975"/>
            </a:xfrm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EA883315-73E0-4948-874D-A704806E02F6}"/>
                  </a:ext>
                </a:extLst>
              </p:cNvPr>
              <p:cNvSpPr/>
              <p:nvPr/>
            </p:nvSpPr>
            <p:spPr>
              <a:xfrm>
                <a:off x="7275288" y="2189924"/>
                <a:ext cx="526975" cy="526975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7" name="TextBox 191">
                <a:extLst>
                  <a:ext uri="{FF2B5EF4-FFF2-40B4-BE49-F238E27FC236}">
                    <a16:creationId xmlns:a16="http://schemas.microsoft.com/office/drawing/2014/main" id="{46EA61C5-9B15-46AE-9383-929C8697E7BF}"/>
                  </a:ext>
                </a:extLst>
              </p:cNvPr>
              <p:cNvSpPr txBox="1"/>
              <p:nvPr/>
            </p:nvSpPr>
            <p:spPr>
              <a:xfrm>
                <a:off x="7332533" y="2345959"/>
                <a:ext cx="526975" cy="214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BC</a:t>
                </a:r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72675185-3FD9-4EEE-989D-1DFD37BFF8F6}"/>
                </a:ext>
              </a:extLst>
            </p:cNvPr>
            <p:cNvCxnSpPr>
              <a:stCxn id="84" idx="3"/>
              <a:endCxn id="10" idx="1"/>
            </p:cNvCxnSpPr>
            <p:nvPr/>
          </p:nvCxnSpPr>
          <p:spPr>
            <a:xfrm>
              <a:off x="7939475" y="2418437"/>
              <a:ext cx="1049711" cy="3680"/>
            </a:xfrm>
            <a:prstGeom prst="bentConnector3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6D06429D-E655-475D-821E-011C2E05A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4844" y="1999227"/>
              <a:ext cx="374699" cy="374699"/>
            </a:xfrm>
            <a:prstGeom prst="rect">
              <a:avLst/>
            </a:prstGeom>
          </p:spPr>
        </p:pic>
      </p:grp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C312DB3-6812-4783-83F0-2FC2E51F7796}"/>
              </a:ext>
            </a:extLst>
          </p:cNvPr>
          <p:cNvSpPr/>
          <p:nvPr/>
        </p:nvSpPr>
        <p:spPr>
          <a:xfrm>
            <a:off x="6571907" y="3603670"/>
            <a:ext cx="4652820" cy="20814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5" name="TextBox 191">
            <a:extLst>
              <a:ext uri="{FF2B5EF4-FFF2-40B4-BE49-F238E27FC236}">
                <a16:creationId xmlns:a16="http://schemas.microsoft.com/office/drawing/2014/main" id="{1208D255-8BAD-4717-B711-DAC8A2482788}"/>
              </a:ext>
            </a:extLst>
          </p:cNvPr>
          <p:cNvSpPr txBox="1"/>
          <p:nvPr/>
        </p:nvSpPr>
        <p:spPr>
          <a:xfrm>
            <a:off x="8385218" y="3688518"/>
            <a:ext cx="118851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Minimum jump</a:t>
            </a:r>
            <a:endParaRPr lang="en-US" sz="1400" b="1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AD27581E-C295-4B9A-A264-F197A2FD92C9}"/>
              </a:ext>
            </a:extLst>
          </p:cNvPr>
          <p:cNvGrpSpPr/>
          <p:nvPr/>
        </p:nvGrpSpPr>
        <p:grpSpPr>
          <a:xfrm>
            <a:off x="8989186" y="4332591"/>
            <a:ext cx="1923102" cy="1073020"/>
            <a:chOff x="8989186" y="1885607"/>
            <a:chExt cx="1923102" cy="1073020"/>
          </a:xfrm>
        </p:grpSpPr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A0905F94-1D51-44BC-AA3A-4F765A7D4B97}"/>
                </a:ext>
              </a:extLst>
            </p:cNvPr>
            <p:cNvSpPr/>
            <p:nvPr/>
          </p:nvSpPr>
          <p:spPr>
            <a:xfrm>
              <a:off x="8989186" y="1885607"/>
              <a:ext cx="1923102" cy="107302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1" name="TextBox 191">
              <a:extLst>
                <a:ext uri="{FF2B5EF4-FFF2-40B4-BE49-F238E27FC236}">
                  <a16:creationId xmlns:a16="http://schemas.microsoft.com/office/drawing/2014/main" id="{EB3CFACD-BA37-4962-9342-D51284489E00}"/>
                </a:ext>
              </a:extLst>
            </p:cNvPr>
            <p:cNvSpPr txBox="1"/>
            <p:nvPr/>
          </p:nvSpPr>
          <p:spPr>
            <a:xfrm>
              <a:off x="9550050" y="1927171"/>
              <a:ext cx="80137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sult set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82349D0-2929-4BEE-96CA-12A1298F9E22}"/>
              </a:ext>
            </a:extLst>
          </p:cNvPr>
          <p:cNvGrpSpPr/>
          <p:nvPr/>
        </p:nvGrpSpPr>
        <p:grpSpPr>
          <a:xfrm>
            <a:off x="7324550" y="4385430"/>
            <a:ext cx="526976" cy="526975"/>
            <a:chOff x="7355254" y="4601934"/>
            <a:chExt cx="526976" cy="526975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B6E06BB4-9A18-4F0D-A3A0-7DBF42C17D63}"/>
                </a:ext>
              </a:extLst>
            </p:cNvPr>
            <p:cNvSpPr/>
            <p:nvPr/>
          </p:nvSpPr>
          <p:spPr>
            <a:xfrm>
              <a:off x="7355255" y="460193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9" name="TextBox 191">
              <a:extLst>
                <a:ext uri="{FF2B5EF4-FFF2-40B4-BE49-F238E27FC236}">
                  <a16:creationId xmlns:a16="http://schemas.microsoft.com/office/drawing/2014/main" id="{2DE0FE1C-6787-4BE0-A552-52BE3D8F6946}"/>
                </a:ext>
              </a:extLst>
            </p:cNvPr>
            <p:cNvSpPr txBox="1"/>
            <p:nvPr/>
          </p:nvSpPr>
          <p:spPr>
            <a:xfrm>
              <a:off x="7355254" y="4633560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D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2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494A0D05-B7FA-4D60-BA31-4ACFEA233CE5}"/>
              </a:ext>
            </a:extLst>
          </p:cNvPr>
          <p:cNvGrpSpPr/>
          <p:nvPr/>
        </p:nvGrpSpPr>
        <p:grpSpPr>
          <a:xfrm>
            <a:off x="9698507" y="4709387"/>
            <a:ext cx="636680" cy="526975"/>
            <a:chOff x="7275288" y="2189924"/>
            <a:chExt cx="636680" cy="526975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98754265-E8A9-4638-8917-9ACD30FFC457}"/>
                </a:ext>
              </a:extLst>
            </p:cNvPr>
            <p:cNvSpPr/>
            <p:nvPr/>
          </p:nvSpPr>
          <p:spPr>
            <a:xfrm>
              <a:off x="7275288" y="218992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7" name="TextBox 191">
              <a:extLst>
                <a:ext uri="{FF2B5EF4-FFF2-40B4-BE49-F238E27FC236}">
                  <a16:creationId xmlns:a16="http://schemas.microsoft.com/office/drawing/2014/main" id="{B9BFD42F-A1FE-4896-9ACD-5219E44ED516}"/>
                </a:ext>
              </a:extLst>
            </p:cNvPr>
            <p:cNvSpPr txBox="1"/>
            <p:nvPr/>
          </p:nvSpPr>
          <p:spPr>
            <a:xfrm>
              <a:off x="7384993" y="2261523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858012B8-1B06-4796-A810-5F5EAEDDF516}"/>
              </a:ext>
            </a:extLst>
          </p:cNvPr>
          <p:cNvCxnSpPr>
            <a:cxnSpLocks/>
            <a:stCxn id="109" idx="3"/>
          </p:cNvCxnSpPr>
          <p:nvPr/>
        </p:nvCxnSpPr>
        <p:spPr>
          <a:xfrm flipV="1">
            <a:off x="7851525" y="4632499"/>
            <a:ext cx="1160176" cy="1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99" descr="Icon&#10;&#10;Description automatically generated">
            <a:extLst>
              <a:ext uri="{FF2B5EF4-FFF2-40B4-BE49-F238E27FC236}">
                <a16:creationId xmlns:a16="http://schemas.microsoft.com/office/drawing/2014/main" id="{07B4C106-2BBE-4FF9-8D44-3329D3A076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349" y="4161731"/>
            <a:ext cx="374699" cy="37469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TextBox 191">
                <a:extLst>
                  <a:ext uri="{FF2B5EF4-FFF2-40B4-BE49-F238E27FC236}">
                    <a16:creationId xmlns:a16="http://schemas.microsoft.com/office/drawing/2014/main" id="{C9931D22-8DD8-42FC-932D-E01423199F31}"/>
                  </a:ext>
                </a:extLst>
              </p:cNvPr>
              <p:cNvSpPr txBox="1"/>
              <p:nvPr/>
            </p:nvSpPr>
            <p:spPr>
              <a:xfrm>
                <a:off x="7355255" y="3946287"/>
                <a:ext cx="801375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𝜹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14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𝟎𝟓</m:t>
                      </m:r>
                    </m:oMath>
                  </m:oMathPara>
                </a14:m>
                <a:endParaRPr lang="en-US" sz="1400" b="1" baseline="30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12" name="TextBox 191">
                <a:extLst>
                  <a:ext uri="{FF2B5EF4-FFF2-40B4-BE49-F238E27FC236}">
                    <a16:creationId xmlns:a16="http://schemas.microsoft.com/office/drawing/2014/main" id="{C9931D22-8DD8-42FC-932D-E01423199F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55255" y="3946287"/>
                <a:ext cx="801375" cy="215444"/>
              </a:xfrm>
              <a:prstGeom prst="rect">
                <a:avLst/>
              </a:prstGeom>
              <a:blipFill>
                <a:blip r:embed="rId5"/>
                <a:stretch>
                  <a:fillRect l="-3053" r="-2290"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4188F74-872D-42F3-A8D7-131ECBA83191}"/>
              </a:ext>
            </a:extLst>
          </p:cNvPr>
          <p:cNvGrpSpPr/>
          <p:nvPr/>
        </p:nvGrpSpPr>
        <p:grpSpPr>
          <a:xfrm>
            <a:off x="7302035" y="5000810"/>
            <a:ext cx="526976" cy="526975"/>
            <a:chOff x="7355254" y="4601934"/>
            <a:chExt cx="526976" cy="526975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03A1BBC9-6886-4C55-BF15-AF6AE3BB5DF4}"/>
                </a:ext>
              </a:extLst>
            </p:cNvPr>
            <p:cNvSpPr/>
            <p:nvPr/>
          </p:nvSpPr>
          <p:spPr>
            <a:xfrm>
              <a:off x="7355255" y="4601934"/>
              <a:ext cx="526975" cy="52697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16" name="TextBox 191">
              <a:extLst>
                <a:ext uri="{FF2B5EF4-FFF2-40B4-BE49-F238E27FC236}">
                  <a16:creationId xmlns:a16="http://schemas.microsoft.com/office/drawing/2014/main" id="{C7BBD858-438A-42BB-A8F9-8D521C7A6016}"/>
                </a:ext>
              </a:extLst>
            </p:cNvPr>
            <p:cNvSpPr txBox="1"/>
            <p:nvPr/>
          </p:nvSpPr>
          <p:spPr>
            <a:xfrm>
              <a:off x="7355254" y="4633560"/>
              <a:ext cx="52697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CE</a:t>
              </a:r>
              <a:b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.98</a:t>
              </a:r>
              <a:endParaRPr lang="en-US" sz="1400" b="1" baseline="300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F062751D-AC96-4EB9-8EDB-C2B3610998B7}"/>
              </a:ext>
            </a:extLst>
          </p:cNvPr>
          <p:cNvCxnSpPr>
            <a:cxnSpLocks/>
            <a:stCxn id="116" idx="3"/>
          </p:cNvCxnSpPr>
          <p:nvPr/>
        </p:nvCxnSpPr>
        <p:spPr>
          <a:xfrm flipV="1">
            <a:off x="7829010" y="5247879"/>
            <a:ext cx="1160176" cy="1"/>
          </a:xfrm>
          <a:prstGeom prst="bentConnector3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EAAAF783-69E8-444C-B13F-12E58EB866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090" y="4803152"/>
            <a:ext cx="368300" cy="3683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E6F930-E2F7-4BF2-8847-EB37F5918E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2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790587647"/>
      </p:ext>
    </p:extLst>
  </p:cSld>
  <p:clrMapOvr>
    <a:masterClrMapping/>
  </p:clrMapOvr>
  <p:transition spd="slow">
    <p:push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egative correlations</a:t>
            </a:r>
          </a:p>
        </p:txBody>
      </p:sp>
      <p:sp>
        <p:nvSpPr>
          <p:cNvPr id="61" name="TextBox 191">
            <a:extLst>
              <a:ext uri="{FF2B5EF4-FFF2-40B4-BE49-F238E27FC236}">
                <a16:creationId xmlns:a16="http://schemas.microsoft.com/office/drawing/2014/main" id="{F0900C0D-CA7A-45BF-A5F6-C0D141765CF8}"/>
              </a:ext>
            </a:extLst>
          </p:cNvPr>
          <p:cNvSpPr txBox="1"/>
          <p:nvPr/>
        </p:nvSpPr>
        <p:spPr>
          <a:xfrm>
            <a:off x="2245973" y="2213051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itive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325E2A8-AC6D-4C6B-966A-C46019C50291}"/>
              </a:ext>
            </a:extLst>
          </p:cNvPr>
          <p:cNvGrpSpPr/>
          <p:nvPr/>
        </p:nvGrpSpPr>
        <p:grpSpPr>
          <a:xfrm>
            <a:off x="752476" y="2702062"/>
            <a:ext cx="4883214" cy="601824"/>
            <a:chOff x="752476" y="3639322"/>
            <a:chExt cx="4883214" cy="60182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4ADD60A-3A6A-470E-B964-54ACE7593655}"/>
                </a:ext>
              </a:extLst>
            </p:cNvPr>
            <p:cNvSpPr/>
            <p:nvPr/>
          </p:nvSpPr>
          <p:spPr>
            <a:xfrm>
              <a:off x="752476" y="3639322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6530601-9CC3-4F26-B6EC-B059534B20E5}"/>
                </a:ext>
              </a:extLst>
            </p:cNvPr>
            <p:cNvCxnSpPr/>
            <p:nvPr/>
          </p:nvCxnSpPr>
          <p:spPr>
            <a:xfrm>
              <a:off x="4627984" y="363932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56FCE75-F3E4-4DAB-B193-FD25DDF41BA6}"/>
                </a:ext>
              </a:extLst>
            </p:cNvPr>
            <p:cNvSpPr/>
            <p:nvPr/>
          </p:nvSpPr>
          <p:spPr>
            <a:xfrm>
              <a:off x="4699001" y="371484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BDB7F52-D669-43F2-B0B0-AE3A61BF0AAA}"/>
                </a:ext>
              </a:extLst>
            </p:cNvPr>
            <p:cNvSpPr/>
            <p:nvPr/>
          </p:nvSpPr>
          <p:spPr>
            <a:xfrm>
              <a:off x="4974150" y="3828572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38B5CFB-0A2D-4678-8CB0-F73A6033147D}"/>
                </a:ext>
              </a:extLst>
            </p:cNvPr>
            <p:cNvSpPr/>
            <p:nvPr/>
          </p:nvSpPr>
          <p:spPr>
            <a:xfrm>
              <a:off x="5222966" y="376243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78F201B-E8AE-44DA-8F38-5C106558CCAD}"/>
                </a:ext>
              </a:extLst>
            </p:cNvPr>
            <p:cNvSpPr/>
            <p:nvPr/>
          </p:nvSpPr>
          <p:spPr>
            <a:xfrm>
              <a:off x="5293205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C27D93FC-2DB3-4472-90E3-ECEE277A3543}"/>
                </a:ext>
              </a:extLst>
            </p:cNvPr>
            <p:cNvSpPr/>
            <p:nvPr/>
          </p:nvSpPr>
          <p:spPr>
            <a:xfrm>
              <a:off x="4725334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A0B0010-5AFC-46D3-B98E-7BA1D30CB096}"/>
                </a:ext>
              </a:extLst>
            </p:cNvPr>
            <p:cNvSpPr/>
            <p:nvPr/>
          </p:nvSpPr>
          <p:spPr>
            <a:xfrm>
              <a:off x="948320" y="3692973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DDEFD97-E57D-43E4-B752-654E6E027D86}"/>
                </a:ext>
              </a:extLst>
            </p:cNvPr>
            <p:cNvSpPr/>
            <p:nvPr/>
          </p:nvSpPr>
          <p:spPr>
            <a:xfrm>
              <a:off x="1559333" y="3680697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9C63A60-DEDA-4B0A-94EB-A097C1CD507B}"/>
                </a:ext>
              </a:extLst>
            </p:cNvPr>
            <p:cNvSpPr/>
            <p:nvPr/>
          </p:nvSpPr>
          <p:spPr>
            <a:xfrm>
              <a:off x="2216679" y="3703459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3B6CAA3-ABF7-4508-8768-044735A23FD5}"/>
                </a:ext>
              </a:extLst>
            </p:cNvPr>
            <p:cNvSpPr/>
            <p:nvPr/>
          </p:nvSpPr>
          <p:spPr>
            <a:xfrm>
              <a:off x="3382468" y="4025475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B3B9A1A-7BD4-4C00-B9AF-5D506896F5A0}"/>
                </a:ext>
              </a:extLst>
            </p:cNvPr>
            <p:cNvSpPr/>
            <p:nvPr/>
          </p:nvSpPr>
          <p:spPr>
            <a:xfrm>
              <a:off x="3628798" y="3695611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AE8FC3D-4013-48E6-B379-652D63AEDBAA}"/>
                </a:ext>
              </a:extLst>
            </p:cNvPr>
            <p:cNvSpPr/>
            <p:nvPr/>
          </p:nvSpPr>
          <p:spPr>
            <a:xfrm>
              <a:off x="3965052" y="3778759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009C2A-B005-47E6-8C84-8259D2790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3</a:t>
            </a:fld>
            <a:endParaRPr lang="en-NL" dirty="0"/>
          </a:p>
        </p:txBody>
      </p:sp>
      <p:sp>
        <p:nvSpPr>
          <p:cNvPr id="51" name="TextBox 191">
            <a:extLst>
              <a:ext uri="{FF2B5EF4-FFF2-40B4-BE49-F238E27FC236}">
                <a16:creationId xmlns:a16="http://schemas.microsoft.com/office/drawing/2014/main" id="{7A1B527F-AEF7-4380-8991-07CDA2E4CE87}"/>
              </a:ext>
            </a:extLst>
          </p:cNvPr>
          <p:cNvSpPr txBox="1"/>
          <p:nvPr/>
        </p:nvSpPr>
        <p:spPr>
          <a:xfrm>
            <a:off x="7653228" y="2213051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gative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B90D453-E13A-412E-8524-AC256DEA0E57}"/>
              </a:ext>
            </a:extLst>
          </p:cNvPr>
          <p:cNvGrpSpPr/>
          <p:nvPr/>
        </p:nvGrpSpPr>
        <p:grpSpPr>
          <a:xfrm flipH="1">
            <a:off x="6159731" y="2702062"/>
            <a:ext cx="4883214" cy="601824"/>
            <a:chOff x="752476" y="3639322"/>
            <a:chExt cx="4883214" cy="60182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091BEA1-63B1-4F3F-B0AE-CEBE1C4B1247}"/>
                </a:ext>
              </a:extLst>
            </p:cNvPr>
            <p:cNvSpPr/>
            <p:nvPr/>
          </p:nvSpPr>
          <p:spPr>
            <a:xfrm>
              <a:off x="752476" y="3639322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A3067FC-27F9-484B-8F8F-0BCB0532EFFE}"/>
                </a:ext>
              </a:extLst>
            </p:cNvPr>
            <p:cNvCxnSpPr/>
            <p:nvPr/>
          </p:nvCxnSpPr>
          <p:spPr>
            <a:xfrm>
              <a:off x="4627984" y="363932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408845B-7E62-447A-A4AD-2CEE6D14868A}"/>
                </a:ext>
              </a:extLst>
            </p:cNvPr>
            <p:cNvSpPr/>
            <p:nvPr/>
          </p:nvSpPr>
          <p:spPr>
            <a:xfrm>
              <a:off x="4699001" y="371484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3E67423-8FEC-4C53-A492-F621709AF8E8}"/>
                </a:ext>
              </a:extLst>
            </p:cNvPr>
            <p:cNvSpPr/>
            <p:nvPr/>
          </p:nvSpPr>
          <p:spPr>
            <a:xfrm>
              <a:off x="4974150" y="3828572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7BD9140-FA08-48B1-BFFA-FE5CF0D0031A}"/>
                </a:ext>
              </a:extLst>
            </p:cNvPr>
            <p:cNvSpPr/>
            <p:nvPr/>
          </p:nvSpPr>
          <p:spPr>
            <a:xfrm>
              <a:off x="5222966" y="3762434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934BF16-EB0D-45D8-B33B-95D0478F6255}"/>
                </a:ext>
              </a:extLst>
            </p:cNvPr>
            <p:cNvSpPr/>
            <p:nvPr/>
          </p:nvSpPr>
          <p:spPr>
            <a:xfrm>
              <a:off x="5293205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5C8FC93-D353-4B8E-BB82-CE1189FC737F}"/>
                </a:ext>
              </a:extLst>
            </p:cNvPr>
            <p:cNvSpPr/>
            <p:nvPr/>
          </p:nvSpPr>
          <p:spPr>
            <a:xfrm>
              <a:off x="4725334" y="4001790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A453AB49-587E-4A8D-8F0F-8CC8AF5A4F3F}"/>
                </a:ext>
              </a:extLst>
            </p:cNvPr>
            <p:cNvSpPr/>
            <p:nvPr/>
          </p:nvSpPr>
          <p:spPr>
            <a:xfrm>
              <a:off x="948320" y="3692973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C2245F9-96A0-4409-A451-222050468B7F}"/>
                </a:ext>
              </a:extLst>
            </p:cNvPr>
            <p:cNvSpPr/>
            <p:nvPr/>
          </p:nvSpPr>
          <p:spPr>
            <a:xfrm>
              <a:off x="1559333" y="3680697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3EED8681-7EBC-4B24-888A-9EB5646A38D9}"/>
                </a:ext>
              </a:extLst>
            </p:cNvPr>
            <p:cNvSpPr/>
            <p:nvPr/>
          </p:nvSpPr>
          <p:spPr>
            <a:xfrm>
              <a:off x="2216679" y="3703459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42D2B67-2A14-46AD-8D6D-D493B03EB106}"/>
                </a:ext>
              </a:extLst>
            </p:cNvPr>
            <p:cNvSpPr/>
            <p:nvPr/>
          </p:nvSpPr>
          <p:spPr>
            <a:xfrm>
              <a:off x="3382468" y="4025475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5F96E13-4EDF-4BF9-BC9B-F2062490B933}"/>
                </a:ext>
              </a:extLst>
            </p:cNvPr>
            <p:cNvSpPr/>
            <p:nvPr/>
          </p:nvSpPr>
          <p:spPr>
            <a:xfrm>
              <a:off x="3628798" y="3695611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5F5B25C-9EB5-4596-8FF3-76B6FF865A93}"/>
                </a:ext>
              </a:extLst>
            </p:cNvPr>
            <p:cNvSpPr/>
            <p:nvPr/>
          </p:nvSpPr>
          <p:spPr>
            <a:xfrm>
              <a:off x="3965052" y="3778759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78" name="TextBox 191">
            <a:extLst>
              <a:ext uri="{FF2B5EF4-FFF2-40B4-BE49-F238E27FC236}">
                <a16:creationId xmlns:a16="http://schemas.microsoft.com/office/drawing/2014/main" id="{ACC472A3-ED0D-4EF5-8C06-27E38D085D30}"/>
              </a:ext>
            </a:extLst>
          </p:cNvPr>
          <p:cNvSpPr txBox="1"/>
          <p:nvPr/>
        </p:nvSpPr>
        <p:spPr>
          <a:xfrm>
            <a:off x="4784401" y="4196636"/>
            <a:ext cx="26721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h correlations</a:t>
            </a:r>
            <a:endParaRPr lang="en-US" sz="2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B375034-90E9-4213-9B53-7A4C17F17C62}"/>
              </a:ext>
            </a:extLst>
          </p:cNvPr>
          <p:cNvGrpSpPr/>
          <p:nvPr/>
        </p:nvGrpSpPr>
        <p:grpSpPr>
          <a:xfrm>
            <a:off x="3332113" y="4675672"/>
            <a:ext cx="4883214" cy="611799"/>
            <a:chOff x="3290904" y="4675672"/>
            <a:chExt cx="4883214" cy="611799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860023A-79AC-4A19-9B58-CF4F0EDC789B}"/>
                </a:ext>
              </a:extLst>
            </p:cNvPr>
            <p:cNvSpPr/>
            <p:nvPr/>
          </p:nvSpPr>
          <p:spPr>
            <a:xfrm>
              <a:off x="3290904" y="4685647"/>
              <a:ext cx="4883214" cy="60182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2F953E0C-762C-4C3D-A47E-09E5026A146D}"/>
                </a:ext>
              </a:extLst>
            </p:cNvPr>
            <p:cNvCxnSpPr/>
            <p:nvPr/>
          </p:nvCxnSpPr>
          <p:spPr>
            <a:xfrm>
              <a:off x="7364532" y="4685647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85F84CD5-2E36-4166-8E05-545FE659C68C}"/>
                </a:ext>
              </a:extLst>
            </p:cNvPr>
            <p:cNvSpPr/>
            <p:nvPr/>
          </p:nvSpPr>
          <p:spPr>
            <a:xfrm>
              <a:off x="3412101" y="4761169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2AF17653-B88E-40B2-9C58-7A84A64FAD2A}"/>
                </a:ext>
              </a:extLst>
            </p:cNvPr>
            <p:cNvSpPr/>
            <p:nvPr/>
          </p:nvSpPr>
          <p:spPr>
            <a:xfrm>
              <a:off x="7512578" y="4874897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8E8CBAD-152A-471F-97A5-B5A4CF5D7175}"/>
                </a:ext>
              </a:extLst>
            </p:cNvPr>
            <p:cNvSpPr/>
            <p:nvPr/>
          </p:nvSpPr>
          <p:spPr>
            <a:xfrm>
              <a:off x="7761394" y="4808759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C881CCE-AD68-42E4-A9BD-D8B5545D8442}"/>
                </a:ext>
              </a:extLst>
            </p:cNvPr>
            <p:cNvSpPr/>
            <p:nvPr/>
          </p:nvSpPr>
          <p:spPr>
            <a:xfrm>
              <a:off x="7831633" y="5048115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68E03A4-4BE1-40E1-9A3E-A98A46926A63}"/>
                </a:ext>
              </a:extLst>
            </p:cNvPr>
            <p:cNvSpPr/>
            <p:nvPr/>
          </p:nvSpPr>
          <p:spPr>
            <a:xfrm>
              <a:off x="3438434" y="5048115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2DD3250E-E378-4657-8890-B5D851D1F932}"/>
                </a:ext>
              </a:extLst>
            </p:cNvPr>
            <p:cNvSpPr/>
            <p:nvPr/>
          </p:nvSpPr>
          <p:spPr>
            <a:xfrm>
              <a:off x="4255388" y="4727022"/>
              <a:ext cx="473550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A443079A-662E-4E15-A7F7-C5A59D6083C7}"/>
                </a:ext>
              </a:extLst>
            </p:cNvPr>
            <p:cNvSpPr/>
            <p:nvPr/>
          </p:nvSpPr>
          <p:spPr>
            <a:xfrm>
              <a:off x="4807556" y="4749251"/>
              <a:ext cx="1149097" cy="473550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524E964C-5F8D-45F0-A481-B2564B3527EC}"/>
                </a:ext>
              </a:extLst>
            </p:cNvPr>
            <p:cNvSpPr/>
            <p:nvPr/>
          </p:nvSpPr>
          <p:spPr>
            <a:xfrm>
              <a:off x="6061849" y="5060448"/>
              <a:ext cx="395252" cy="162886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89122D66-F178-472D-90D4-E39C1F52F9A8}"/>
                </a:ext>
              </a:extLst>
            </p:cNvPr>
            <p:cNvSpPr/>
            <p:nvPr/>
          </p:nvSpPr>
          <p:spPr>
            <a:xfrm>
              <a:off x="6356147" y="4761169"/>
              <a:ext cx="297843" cy="297843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0709941-2632-47C5-AB2F-EBBFBC7F4B54}"/>
                </a:ext>
              </a:extLst>
            </p:cNvPr>
            <p:cNvSpPr/>
            <p:nvPr/>
          </p:nvSpPr>
          <p:spPr>
            <a:xfrm>
              <a:off x="6794779" y="4781806"/>
              <a:ext cx="409505" cy="409505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FF99182-0A44-4AD1-9BE5-ABB61FBE3CD7}"/>
                </a:ext>
              </a:extLst>
            </p:cNvPr>
            <p:cNvSpPr/>
            <p:nvPr/>
          </p:nvSpPr>
          <p:spPr>
            <a:xfrm>
              <a:off x="3704906" y="4858487"/>
              <a:ext cx="177800" cy="177800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83949771-4903-48C7-AE92-A5993AB58407}"/>
                </a:ext>
              </a:extLst>
            </p:cNvPr>
            <p:cNvSpPr/>
            <p:nvPr/>
          </p:nvSpPr>
          <p:spPr>
            <a:xfrm>
              <a:off x="4060388" y="4976584"/>
              <a:ext cx="159996" cy="246217"/>
            </a:xfrm>
            <a:prstGeom prst="ellipse">
              <a:avLst/>
            </a:prstGeom>
            <a:solidFill>
              <a:srgbClr val="F29696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D5DA59F-D391-487C-AB4D-055205886FFF}"/>
                </a:ext>
              </a:extLst>
            </p:cNvPr>
            <p:cNvCxnSpPr/>
            <p:nvPr/>
          </p:nvCxnSpPr>
          <p:spPr>
            <a:xfrm>
              <a:off x="3968664" y="4675672"/>
              <a:ext cx="0" cy="60182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6715459"/>
      </p:ext>
    </p:extLst>
  </p:cSld>
  <p:clrMapOvr>
    <a:masterClrMapping/>
  </p:clrMapOvr>
  <p:transition spd="slow">
    <p:push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DCC Index – in-depth</a:t>
            </a:r>
          </a:p>
        </p:txBody>
      </p:sp>
      <p:grpSp>
        <p:nvGrpSpPr>
          <p:cNvPr id="74" name="Group 12">
            <a:extLst>
              <a:ext uri="{FF2B5EF4-FFF2-40B4-BE49-F238E27FC236}">
                <a16:creationId xmlns:a16="http://schemas.microsoft.com/office/drawing/2014/main" id="{CD286840-509B-40D5-A4C7-3EE4B3C7FEDF}"/>
              </a:ext>
            </a:extLst>
          </p:cNvPr>
          <p:cNvGrpSpPr/>
          <p:nvPr/>
        </p:nvGrpSpPr>
        <p:grpSpPr>
          <a:xfrm>
            <a:off x="874713" y="3460293"/>
            <a:ext cx="487364" cy="368300"/>
            <a:chOff x="8102600" y="2926611"/>
            <a:chExt cx="487364" cy="368300"/>
          </a:xfrm>
        </p:grpSpPr>
        <p:sp>
          <p:nvSpPr>
            <p:cNvPr id="76" name="Oval 179">
              <a:extLst>
                <a:ext uri="{FF2B5EF4-FFF2-40B4-BE49-F238E27FC236}">
                  <a16:creationId xmlns:a16="http://schemas.microsoft.com/office/drawing/2014/main" id="{1BFD490D-4C90-42DA-A826-B9500AF425A1}"/>
                </a:ext>
              </a:extLst>
            </p:cNvPr>
            <p:cNvSpPr/>
            <p:nvPr/>
          </p:nvSpPr>
          <p:spPr>
            <a:xfrm>
              <a:off x="8102600" y="2926611"/>
              <a:ext cx="368300" cy="368300"/>
            </a:xfrm>
            <a:prstGeom prst="ellipse">
              <a:avLst/>
            </a:pr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188">
              <a:extLst>
                <a:ext uri="{FF2B5EF4-FFF2-40B4-BE49-F238E27FC236}">
                  <a16:creationId xmlns:a16="http://schemas.microsoft.com/office/drawing/2014/main" id="{0AEB8734-DB0E-48C6-B5B2-3D5B85340970}"/>
                </a:ext>
              </a:extLst>
            </p:cNvPr>
            <p:cNvSpPr/>
            <p:nvPr/>
          </p:nvSpPr>
          <p:spPr>
            <a:xfrm>
              <a:off x="8221664" y="2926611"/>
              <a:ext cx="368300" cy="368300"/>
            </a:xfrm>
            <a:prstGeom prst="ellipse">
              <a:avLst/>
            </a:prstGeom>
            <a:noFill/>
            <a:ln>
              <a:solidFill>
                <a:srgbClr val="F6B8B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5" name="TextBox 192">
            <a:extLst>
              <a:ext uri="{FF2B5EF4-FFF2-40B4-BE49-F238E27FC236}">
                <a16:creationId xmlns:a16="http://schemas.microsoft.com/office/drawing/2014/main" id="{6FF9AFA5-26CD-412F-B74B-7A2FA2D62A20}"/>
              </a:ext>
            </a:extLst>
          </p:cNvPr>
          <p:cNvSpPr txBox="1"/>
          <p:nvPr/>
        </p:nvSpPr>
        <p:spPr>
          <a:xfrm>
            <a:off x="1713841" y="3536721"/>
            <a:ext cx="26500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lusters are 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sorted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based on size</a:t>
            </a:r>
          </a:p>
        </p:txBody>
      </p:sp>
      <p:grpSp>
        <p:nvGrpSpPr>
          <p:cNvPr id="80" name="Group 13">
            <a:extLst>
              <a:ext uri="{FF2B5EF4-FFF2-40B4-BE49-F238E27FC236}">
                <a16:creationId xmlns:a16="http://schemas.microsoft.com/office/drawing/2014/main" id="{36061C42-D077-4AB9-B347-EAD162BD65BB}"/>
              </a:ext>
            </a:extLst>
          </p:cNvPr>
          <p:cNvGrpSpPr/>
          <p:nvPr/>
        </p:nvGrpSpPr>
        <p:grpSpPr>
          <a:xfrm>
            <a:off x="1362077" y="2250580"/>
            <a:ext cx="487364" cy="368300"/>
            <a:chOff x="8102600" y="2032000"/>
            <a:chExt cx="487364" cy="368300"/>
          </a:xfrm>
        </p:grpSpPr>
        <p:sp>
          <p:nvSpPr>
            <p:cNvPr id="82" name="Oval 2">
              <a:extLst>
                <a:ext uri="{FF2B5EF4-FFF2-40B4-BE49-F238E27FC236}">
                  <a16:creationId xmlns:a16="http://schemas.microsoft.com/office/drawing/2014/main" id="{01AF32A3-88DF-438C-87AA-D4EB593340E4}"/>
                </a:ext>
              </a:extLst>
            </p:cNvPr>
            <p:cNvSpPr/>
            <p:nvPr/>
          </p:nvSpPr>
          <p:spPr>
            <a:xfrm>
              <a:off x="8102600" y="2032000"/>
              <a:ext cx="368300" cy="368300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val 187">
              <a:extLst>
                <a:ext uri="{FF2B5EF4-FFF2-40B4-BE49-F238E27FC236}">
                  <a16:creationId xmlns:a16="http://schemas.microsoft.com/office/drawing/2014/main" id="{BA89A1DA-8D11-4C1A-B07F-93B64C85FA54}"/>
                </a:ext>
              </a:extLst>
            </p:cNvPr>
            <p:cNvSpPr/>
            <p:nvPr/>
          </p:nvSpPr>
          <p:spPr>
            <a:xfrm>
              <a:off x="8221664" y="2032000"/>
              <a:ext cx="368300" cy="36830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TextBox 191">
            <a:extLst>
              <a:ext uri="{FF2B5EF4-FFF2-40B4-BE49-F238E27FC236}">
                <a16:creationId xmlns:a16="http://schemas.microsoft.com/office/drawing/2014/main" id="{1CCC7179-7448-489B-93AD-BDABA7768BAC}"/>
              </a:ext>
            </a:extLst>
          </p:cNvPr>
          <p:cNvSpPr txBox="1"/>
          <p:nvPr/>
        </p:nvSpPr>
        <p:spPr>
          <a:xfrm>
            <a:off x="2212156" y="2320774"/>
            <a:ext cx="36879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Group on content -&gt; extrema pairs -&gt; clusters</a:t>
            </a:r>
            <a:endParaRPr lang="en-US" sz="1400" baseline="300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01" name="Group 5">
            <a:extLst>
              <a:ext uri="{FF2B5EF4-FFF2-40B4-BE49-F238E27FC236}">
                <a16:creationId xmlns:a16="http://schemas.microsoft.com/office/drawing/2014/main" id="{039DFA93-3F3B-4D81-A25D-F618CA2BBE25}"/>
              </a:ext>
            </a:extLst>
          </p:cNvPr>
          <p:cNvGrpSpPr/>
          <p:nvPr/>
        </p:nvGrpSpPr>
        <p:grpSpPr>
          <a:xfrm>
            <a:off x="1362077" y="4670006"/>
            <a:ext cx="487364" cy="368300"/>
            <a:chOff x="8102600" y="3821222"/>
            <a:chExt cx="487364" cy="368300"/>
          </a:xfrm>
        </p:grpSpPr>
        <p:sp>
          <p:nvSpPr>
            <p:cNvPr id="103" name="Oval 180">
              <a:extLst>
                <a:ext uri="{FF2B5EF4-FFF2-40B4-BE49-F238E27FC236}">
                  <a16:creationId xmlns:a16="http://schemas.microsoft.com/office/drawing/2014/main" id="{F9A8B3EC-9811-424E-849C-E7C22DEC9D8F}"/>
                </a:ext>
              </a:extLst>
            </p:cNvPr>
            <p:cNvSpPr/>
            <p:nvPr/>
          </p:nvSpPr>
          <p:spPr>
            <a:xfrm>
              <a:off x="8102600" y="3821222"/>
              <a:ext cx="368300" cy="36830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Oval 189">
              <a:extLst>
                <a:ext uri="{FF2B5EF4-FFF2-40B4-BE49-F238E27FC236}">
                  <a16:creationId xmlns:a16="http://schemas.microsoft.com/office/drawing/2014/main" id="{F608F1E7-3649-4B4A-9961-59A0FD9A5232}"/>
                </a:ext>
              </a:extLst>
            </p:cNvPr>
            <p:cNvSpPr/>
            <p:nvPr/>
          </p:nvSpPr>
          <p:spPr>
            <a:xfrm>
              <a:off x="8221664" y="3821222"/>
              <a:ext cx="368300" cy="368300"/>
            </a:xfrm>
            <a:prstGeom prst="ellipse">
              <a:avLst/>
            </a:prstGeom>
            <a:noFill/>
            <a:ln>
              <a:solidFill>
                <a:srgbClr val="3B3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2" name="TextBox 193">
            <a:extLst>
              <a:ext uri="{FF2B5EF4-FFF2-40B4-BE49-F238E27FC236}">
                <a16:creationId xmlns:a16="http://schemas.microsoft.com/office/drawing/2014/main" id="{EEDCE663-31E5-44AE-9BA7-6CEA82CA874F}"/>
              </a:ext>
            </a:extLst>
          </p:cNvPr>
          <p:cNvSpPr txBox="1"/>
          <p:nvPr/>
        </p:nvSpPr>
        <p:spPr>
          <a:xfrm>
            <a:off x="2211806" y="4638713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DCCs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are 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stored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 as much as their size</a:t>
            </a:r>
          </a:p>
        </p:txBody>
      </p:sp>
      <p:pic>
        <p:nvPicPr>
          <p:cNvPr id="6" name="Picture 5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D74262D1-DD72-4BA3-9AC2-0623B95E2A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317" y="3710127"/>
            <a:ext cx="4460606" cy="2123462"/>
          </a:xfrm>
          <a:prstGeom prst="rect">
            <a:avLst/>
          </a:prstGeom>
        </p:spPr>
      </p:pic>
      <p:pic>
        <p:nvPicPr>
          <p:cNvPr id="3" name="Picture 2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AA95C6A4-0B2F-4CD0-9798-EF6E98D27D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830" y="1244646"/>
            <a:ext cx="4326704" cy="250119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BB55E-596D-4BED-BB43-C25C7DCD1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4913132"/>
      </p:ext>
    </p:extLst>
  </p:cSld>
  <p:clrMapOvr>
    <a:masterClrMapping/>
  </p:clrMapOvr>
  <p:transition spd="slow">
    <p:push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C-bound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8E867F-A90A-4C64-9A02-197A4703EE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869" y="1800278"/>
            <a:ext cx="8990261" cy="367403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18DA28-4F8E-475C-B9D6-C595EC164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33518225"/>
      </p:ext>
    </p:extLst>
  </p:cSld>
  <p:clrMapOvr>
    <a:masterClrMapping/>
  </p:clrMapOvr>
  <p:transition spd="slow">
    <p:push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191">
                <a:extLst>
                  <a:ext uri="{FF2B5EF4-FFF2-40B4-BE49-F238E27FC236}">
                    <a16:creationId xmlns:a16="http://schemas.microsoft.com/office/drawing/2014/main" id="{42057C09-7374-4ED1-AD64-8084C52AF374}"/>
                  </a:ext>
                </a:extLst>
              </p:cNvPr>
              <p:cNvSpPr txBox="1"/>
              <p:nvPr/>
            </p:nvSpPr>
            <p:spPr>
              <a:xfrm>
                <a:off x="1850068" y="2435580"/>
                <a:ext cx="8491865" cy="15510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Goal: </a:t>
                </a:r>
                <a:r>
                  <a:rPr lang="en-US" sz="3200" b="1" dirty="0">
                    <a:solidFill>
                      <a:srgbClr val="C81919"/>
                    </a:solidFill>
                  </a:rPr>
                  <a:t>find and maintain </a:t>
                </a:r>
                <a:r>
                  <a:rPr lang="en-US" sz="3200" dirty="0">
                    <a:solidFill>
                      <a:srgbClr val="404040"/>
                    </a:solidFill>
                  </a:rPr>
                  <a:t>result set</a:t>
                </a:r>
                <a:br>
                  <a:rPr lang="en-US" sz="3200" dirty="0">
                    <a:solidFill>
                      <a:srgbClr val="C81919"/>
                    </a:solidFill>
                  </a:rPr>
                </a:br>
                <a:r>
                  <a:rPr lang="en-US" sz="3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hallenge</a:t>
                </a:r>
                <a:r>
                  <a:rPr lang="en-US" sz="3200" b="1" dirty="0">
                    <a:solidFill>
                      <a:srgbClr val="C81919"/>
                    </a:solidFill>
                  </a:rPr>
                  <a:t>: </a:t>
                </a:r>
                <a:r>
                  <a:rPr lang="en-US" sz="3200" dirty="0">
                    <a:solidFill>
                      <a:srgbClr val="404040"/>
                    </a:solidFill>
                  </a:rPr>
                  <a:t>combinations of streams </a:t>
                </a:r>
                <a14:m>
                  <m:oMath xmlns:m="http://schemas.openxmlformats.org/officeDocument/2006/math"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(</m:t>
                    </m:r>
                    <m:d>
                      <m:dPr>
                        <m:begChr m:val="{"/>
                        <m:endChr m:val="}"/>
                        <m:ctrlP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,</m:t>
                    </m:r>
                    <m:d>
                      <m:dPr>
                        <m:begChr m:val="{"/>
                        <m:endChr m:val="}"/>
                        <m:ctrlPr>
                          <a:rPr lang="en-US" sz="3200" b="0" i="1" smtClean="0">
                            <a:solidFill>
                              <a:srgbClr val="40404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sz="3200" b="0" i="1" smtClean="0">
                                <a:solidFill>
                                  <a:srgbClr val="40404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lang="en-US" sz="3200" b="0" i="1" smtClean="0">
                        <a:solidFill>
                          <a:srgbClr val="40404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3200" dirty="0">
                  <a:solidFill>
                    <a:srgbClr val="404040"/>
                  </a:solidFill>
                </a:endParaRPr>
              </a:p>
              <a:p>
                <a:pPr algn="ctr"/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n move </a:t>
                </a:r>
                <a:r>
                  <a:rPr lang="en-US" sz="3200" b="1" dirty="0">
                    <a:solidFill>
                      <a:srgbClr val="C00000"/>
                    </a:solidFill>
                  </a:rPr>
                  <a:t>in or out </a:t>
                </a:r>
                <a:r>
                  <a:rPr lang="en-US" sz="3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f the result set</a:t>
                </a:r>
                <a:endParaRPr lang="en-US" sz="3200" b="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6" name="TextBox 191">
                <a:extLst>
                  <a:ext uri="{FF2B5EF4-FFF2-40B4-BE49-F238E27FC236}">
                    <a16:creationId xmlns:a16="http://schemas.microsoft.com/office/drawing/2014/main" id="{42057C09-7374-4ED1-AD64-8084C52AF3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68" y="2435580"/>
                <a:ext cx="8491865" cy="1551002"/>
              </a:xfrm>
              <a:prstGeom prst="rect">
                <a:avLst/>
              </a:prstGeom>
              <a:blipFill>
                <a:blip r:embed="rId5"/>
                <a:stretch>
                  <a:fillRect l="-1650" t="-8268" b="-14961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18F32DBC-3FB0-475D-B0CC-AFB2C85000C1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22BD7B-6EB8-43BD-966A-D5BA4187FE4D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961BB-89AB-4497-87A7-94D4FD112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34835376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560836" y="4679018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8"/>
                  <a:stretch>
                    <a:fillRect b="-128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9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10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2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3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3" name="TextBox 191">
            <a:extLst>
              <a:ext uri="{FF2B5EF4-FFF2-40B4-BE49-F238E27FC236}">
                <a16:creationId xmlns:a16="http://schemas.microsoft.com/office/drawing/2014/main" id="{F2E30D1D-8222-43EF-950F-8F2C2A10F781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2B056D-7124-42BA-B4CF-83746E343C53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75" name="TextBox 191">
              <a:extLst>
                <a:ext uri="{FF2B5EF4-FFF2-40B4-BE49-F238E27FC236}">
                  <a16:creationId xmlns:a16="http://schemas.microsoft.com/office/drawing/2014/main" id="{12049295-9A9E-4428-89DF-E0D76899B191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76" name="Group 10">
              <a:extLst>
                <a:ext uri="{FF2B5EF4-FFF2-40B4-BE49-F238E27FC236}">
                  <a16:creationId xmlns:a16="http://schemas.microsoft.com/office/drawing/2014/main" id="{8EB11317-5834-4F98-B29E-853199A828B4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C0352DEA-F260-466D-ABDB-6AE1CDD9B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3AD98FA3-AD59-48B1-A2BB-2D63D4BEE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83" name="Picture 82" descr="Icon&#10;&#10;Description automatically generated">
              <a:extLst>
                <a:ext uri="{FF2B5EF4-FFF2-40B4-BE49-F238E27FC236}">
                  <a16:creationId xmlns:a16="http://schemas.microsoft.com/office/drawing/2014/main" id="{B1E6A1F5-263F-413C-80FB-5D6075680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8A0CFF8-2554-4D8E-85CA-6E2A6D013A8A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74" name="TextBox 192">
              <a:extLst>
                <a:ext uri="{FF2B5EF4-FFF2-40B4-BE49-F238E27FC236}">
                  <a16:creationId xmlns:a16="http://schemas.microsoft.com/office/drawing/2014/main" id="{1E6415A5-3254-4E66-8AE0-C8DDA7106C8E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80" name="Group 10">
              <a:extLst>
                <a:ext uri="{FF2B5EF4-FFF2-40B4-BE49-F238E27FC236}">
                  <a16:creationId xmlns:a16="http://schemas.microsoft.com/office/drawing/2014/main" id="{3AE76F80-269C-43D1-8E36-56B120628497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81" name="Freeform 5">
                <a:extLst>
                  <a:ext uri="{FF2B5EF4-FFF2-40B4-BE49-F238E27FC236}">
                    <a16:creationId xmlns:a16="http://schemas.microsoft.com/office/drawing/2014/main" id="{5F96DCA7-EFEF-42F8-B922-5FE7A02E9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6">
                <a:extLst>
                  <a:ext uri="{FF2B5EF4-FFF2-40B4-BE49-F238E27FC236}">
                    <a16:creationId xmlns:a16="http://schemas.microsoft.com/office/drawing/2014/main" id="{91871671-ABEF-4A96-A0A8-BAB6E1D03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84" name="Picture 83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3CF73112-B663-4FB6-81E3-A00DDAB33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4211A73-5FB4-473B-AB3D-E88FB6D7FA55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7" name="Group 10">
              <a:extLst>
                <a:ext uri="{FF2B5EF4-FFF2-40B4-BE49-F238E27FC236}">
                  <a16:creationId xmlns:a16="http://schemas.microsoft.com/office/drawing/2014/main" id="{37600896-0325-460F-BB16-67234E567454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2027B2E8-1D66-4B5C-BFB6-2EE779F51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">
                <a:extLst>
                  <a:ext uri="{FF2B5EF4-FFF2-40B4-BE49-F238E27FC236}">
                    <a16:creationId xmlns:a16="http://schemas.microsoft.com/office/drawing/2014/main" id="{BA158EA0-CB1C-409D-BB0D-5F6C8A027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901FDAA0-0101-41FB-A14F-5CD8129B198C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47" name="Picture 46" descr="Icon&#10;&#10;Description automatically generated">
                <a:extLst>
                  <a:ext uri="{FF2B5EF4-FFF2-40B4-BE49-F238E27FC236}">
                    <a16:creationId xmlns:a16="http://schemas.microsoft.com/office/drawing/2014/main" id="{B6AF878A-EF54-443E-9B6E-D2B0C95DBC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48" name="TextBox 193">
                <a:extLst>
                  <a:ext uri="{FF2B5EF4-FFF2-40B4-BE49-F238E27FC236}">
                    <a16:creationId xmlns:a16="http://schemas.microsoft.com/office/drawing/2014/main" id="{0DF6A18D-AE0E-4130-B7F6-BC2DC8D50C02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A03F49D8-392D-490E-874C-84B467AE603A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8B0AE75-0476-4929-B238-696291D12A41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2C95C6-F6FC-45DA-9D03-5592A11DD5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845040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9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0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406097" y="4297171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6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F5D4168D-E6EE-4236-9236-2B9D28516D6D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12F0B2D-6AF3-464A-A520-2D5D93F376AE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1EA4AD4-E54B-410F-B1F0-29FCC0CC7DFF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278F9AD-9BA1-4E44-93CC-44149872EDE8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52" name="TextBox 191">
              <a:extLst>
                <a:ext uri="{FF2B5EF4-FFF2-40B4-BE49-F238E27FC236}">
                  <a16:creationId xmlns:a16="http://schemas.microsoft.com/office/drawing/2014/main" id="{DBCFDF0A-EDCB-4902-8D53-91FC896F0C4E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53" name="Group 10">
              <a:extLst>
                <a:ext uri="{FF2B5EF4-FFF2-40B4-BE49-F238E27FC236}">
                  <a16:creationId xmlns:a16="http://schemas.microsoft.com/office/drawing/2014/main" id="{E832964C-3BBC-4AEA-A764-FE6EF8CB2510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5" name="Freeform 5">
                <a:extLst>
                  <a:ext uri="{FF2B5EF4-FFF2-40B4-BE49-F238E27FC236}">
                    <a16:creationId xmlns:a16="http://schemas.microsoft.com/office/drawing/2014/main" id="{970547F6-284A-4AD0-B12A-903697A79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6">
                <a:extLst>
                  <a:ext uri="{FF2B5EF4-FFF2-40B4-BE49-F238E27FC236}">
                    <a16:creationId xmlns:a16="http://schemas.microsoft.com/office/drawing/2014/main" id="{DEEB23D9-4741-4A84-9D0F-218ACA910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4" name="Picture 53" descr="Icon&#10;&#10;Description automatically generated">
              <a:extLst>
                <a:ext uri="{FF2B5EF4-FFF2-40B4-BE49-F238E27FC236}">
                  <a16:creationId xmlns:a16="http://schemas.microsoft.com/office/drawing/2014/main" id="{9985DC71-5DBD-49F1-9FF1-4D2882A1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3B92C85-3C61-4A14-9B4C-197FC631A7B1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58" name="TextBox 192">
              <a:extLst>
                <a:ext uri="{FF2B5EF4-FFF2-40B4-BE49-F238E27FC236}">
                  <a16:creationId xmlns:a16="http://schemas.microsoft.com/office/drawing/2014/main" id="{1AE54665-591C-4A24-A30D-0E48544376E7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59" name="Group 10">
              <a:extLst>
                <a:ext uri="{FF2B5EF4-FFF2-40B4-BE49-F238E27FC236}">
                  <a16:creationId xmlns:a16="http://schemas.microsoft.com/office/drawing/2014/main" id="{4C8AB8EF-9F16-4ABA-91E8-D19C74AF448F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61" name="Freeform 5">
                <a:extLst>
                  <a:ext uri="{FF2B5EF4-FFF2-40B4-BE49-F238E27FC236}">
                    <a16:creationId xmlns:a16="http://schemas.microsoft.com/office/drawing/2014/main" id="{F549EA73-A162-48C5-8351-D3B5E0F1C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">
                <a:extLst>
                  <a:ext uri="{FF2B5EF4-FFF2-40B4-BE49-F238E27FC236}">
                    <a16:creationId xmlns:a16="http://schemas.microsoft.com/office/drawing/2014/main" id="{51B38F73-9DF2-4EE8-AFB1-52D8383AC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60" name="Picture 59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3A1F221C-53B9-4710-B767-54640E1F9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81EB9B9-4D75-4FAE-9441-5D08567B17A3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4" name="Group 10">
              <a:extLst>
                <a:ext uri="{FF2B5EF4-FFF2-40B4-BE49-F238E27FC236}">
                  <a16:creationId xmlns:a16="http://schemas.microsoft.com/office/drawing/2014/main" id="{E7DF95C3-7FFD-4A29-8838-029E22089EEF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71" name="Freeform 5">
                <a:extLst>
                  <a:ext uri="{FF2B5EF4-FFF2-40B4-BE49-F238E27FC236}">
                    <a16:creationId xmlns:a16="http://schemas.microsoft.com/office/drawing/2014/main" id="{5471652B-8E3D-40FA-80FB-F91AF07CF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">
                <a:extLst>
                  <a:ext uri="{FF2B5EF4-FFF2-40B4-BE49-F238E27FC236}">
                    <a16:creationId xmlns:a16="http://schemas.microsoft.com/office/drawing/2014/main" id="{65D4C34B-A1CF-4CF9-B040-7AA06E626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9A23F561-BB5D-4CA5-86C4-47FE7D17BF1E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66" name="Picture 65" descr="Icon&#10;&#10;Description automatically generated">
                <a:extLst>
                  <a:ext uri="{FF2B5EF4-FFF2-40B4-BE49-F238E27FC236}">
                    <a16:creationId xmlns:a16="http://schemas.microsoft.com/office/drawing/2014/main" id="{92B463B4-72FC-47FD-91EC-4113582C1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67" name="TextBox 193">
                <a:extLst>
                  <a:ext uri="{FF2B5EF4-FFF2-40B4-BE49-F238E27FC236}">
                    <a16:creationId xmlns:a16="http://schemas.microsoft.com/office/drawing/2014/main" id="{3E2A75D5-6D02-44B5-AE8D-0E55296BE782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62B39C-F958-4CC8-BDAB-6088D54BA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8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96173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4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5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9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0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1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8472055" y="4771480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6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7443F6A7-6EF3-4EDC-873C-68B6B26A3E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678" y="5194510"/>
            <a:ext cx="531466" cy="531466"/>
          </a:xfrm>
          <a:prstGeom prst="rect">
            <a:avLst/>
          </a:prstGeom>
        </p:spPr>
      </p:pic>
      <p:sp>
        <p:nvSpPr>
          <p:cNvPr id="86" name="TextBox 191">
            <a:extLst>
              <a:ext uri="{FF2B5EF4-FFF2-40B4-BE49-F238E27FC236}">
                <a16:creationId xmlns:a16="http://schemas.microsoft.com/office/drawing/2014/main" id="{B12A3E99-9181-43F0-A75D-77280F3712D9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20509E0-C3DD-4FD0-994E-22ACB476E691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661072A-4CBE-465E-95CF-248ABCA82DA7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779985A-0BF0-4EE2-90AD-BD98B442D766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55" name="TextBox 191">
              <a:extLst>
                <a:ext uri="{FF2B5EF4-FFF2-40B4-BE49-F238E27FC236}">
                  <a16:creationId xmlns:a16="http://schemas.microsoft.com/office/drawing/2014/main" id="{31A4BFA8-4DDD-49ED-A38D-EF390D0D8152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56" name="Group 10">
              <a:extLst>
                <a:ext uri="{FF2B5EF4-FFF2-40B4-BE49-F238E27FC236}">
                  <a16:creationId xmlns:a16="http://schemas.microsoft.com/office/drawing/2014/main" id="{56771518-1C88-4AD6-8512-7D15D8067E8A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AEB4F840-E31B-40D9-87E1-0ACD8470B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95A478B7-48FD-4E7B-B9BE-B0E34CA99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7" name="Picture 56" descr="Icon&#10;&#10;Description automatically generated">
              <a:extLst>
                <a:ext uri="{FF2B5EF4-FFF2-40B4-BE49-F238E27FC236}">
                  <a16:creationId xmlns:a16="http://schemas.microsoft.com/office/drawing/2014/main" id="{39FDF1FB-46AA-447E-913D-A5E9D4627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71A7861-F7AA-4381-AAD9-D7F74DB81831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61" name="TextBox 192">
              <a:extLst>
                <a:ext uri="{FF2B5EF4-FFF2-40B4-BE49-F238E27FC236}">
                  <a16:creationId xmlns:a16="http://schemas.microsoft.com/office/drawing/2014/main" id="{0458DF1B-74D3-467E-AD42-A484E755098B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62" name="Group 10">
              <a:extLst>
                <a:ext uri="{FF2B5EF4-FFF2-40B4-BE49-F238E27FC236}">
                  <a16:creationId xmlns:a16="http://schemas.microsoft.com/office/drawing/2014/main" id="{28197CD0-0AA9-48EF-A839-7F7B2B6DC682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64" name="Freeform 5">
                <a:extLst>
                  <a:ext uri="{FF2B5EF4-FFF2-40B4-BE49-F238E27FC236}">
                    <a16:creationId xmlns:a16="http://schemas.microsoft.com/office/drawing/2014/main" id="{1F3994C2-682A-4D72-B055-02750472A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">
                <a:extLst>
                  <a:ext uri="{FF2B5EF4-FFF2-40B4-BE49-F238E27FC236}">
                    <a16:creationId xmlns:a16="http://schemas.microsoft.com/office/drawing/2014/main" id="{11B94F0C-1AA2-4F6C-B1B6-A2843257E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63" name="Picture 62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60B6F052-DBAF-44D1-8034-FDDE43CF6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DE308C-690D-4EE8-AA8E-435CCA32399C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7" name="Group 10">
              <a:extLst>
                <a:ext uri="{FF2B5EF4-FFF2-40B4-BE49-F238E27FC236}">
                  <a16:creationId xmlns:a16="http://schemas.microsoft.com/office/drawing/2014/main" id="{1F3766DD-D579-4BF8-B440-9593CA920077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74" name="Freeform 5">
                <a:extLst>
                  <a:ext uri="{FF2B5EF4-FFF2-40B4-BE49-F238E27FC236}">
                    <a16:creationId xmlns:a16="http://schemas.microsoft.com/office/drawing/2014/main" id="{41DD97FE-7C0B-4242-9066-A5C5D304E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6">
                <a:extLst>
                  <a:ext uri="{FF2B5EF4-FFF2-40B4-BE49-F238E27FC236}">
                    <a16:creationId xmlns:a16="http://schemas.microsoft.com/office/drawing/2014/main" id="{09D0059C-3B8B-4E91-B403-7670C09BE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EC0C33C-F64D-4DA3-B43A-119CB6124891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72" name="Picture 71" descr="Icon&#10;&#10;Description automatically generated">
                <a:extLst>
                  <a:ext uri="{FF2B5EF4-FFF2-40B4-BE49-F238E27FC236}">
                    <a16:creationId xmlns:a16="http://schemas.microsoft.com/office/drawing/2014/main" id="{F11D605E-35BC-458A-BF48-40CB905B7F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73" name="TextBox 193">
                <a:extLst>
                  <a:ext uri="{FF2B5EF4-FFF2-40B4-BE49-F238E27FC236}">
                    <a16:creationId xmlns:a16="http://schemas.microsoft.com/office/drawing/2014/main" id="{25D6A563-EB5C-40B6-A2E0-03490440586D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3AB25-742D-4534-827F-36167CAF15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39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887013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4FA3F4BE-C079-4D91-97C6-8D17EDAF20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130" y="1777881"/>
            <a:ext cx="5297380" cy="353158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95F7D81-996C-43E0-B7EC-3761FDE70CF8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17E0556-9981-404A-BB8A-768A19F8E7D2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191437-87E6-4B48-A90C-835B06DE1020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36" name="Picture 35" descr="Icon&#10;&#10;Description automatically generated">
              <a:extLst>
                <a:ext uri="{FF2B5EF4-FFF2-40B4-BE49-F238E27FC236}">
                  <a16:creationId xmlns:a16="http://schemas.microsoft.com/office/drawing/2014/main" id="{1F74216B-F914-43F3-B57F-B2B86026B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37" name="Google Shape;349;p22">
              <a:extLst>
                <a:ext uri="{FF2B5EF4-FFF2-40B4-BE49-F238E27FC236}">
                  <a16:creationId xmlns:a16="http://schemas.microsoft.com/office/drawing/2014/main" id="{97C178E3-E97A-4BCF-B095-2BB1813B7A0E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A708AB0-456C-4B68-9102-80D159BBFB7A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39" name="Google Shape;349;p22">
              <a:extLst>
                <a:ext uri="{FF2B5EF4-FFF2-40B4-BE49-F238E27FC236}">
                  <a16:creationId xmlns:a16="http://schemas.microsoft.com/office/drawing/2014/main" id="{BC957E00-343A-4B5A-9D6B-4586B595F35D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40" name="Picture 39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D57FAC0D-6E7F-411E-A6A9-2C85F667A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E2C3944-0F3A-43AE-90D5-96B3873BB2A7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42" name="Picture 41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0CC01052-5C41-4011-8C95-8AEBED8F8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43" name="Google Shape;349;p22">
              <a:extLst>
                <a:ext uri="{FF2B5EF4-FFF2-40B4-BE49-F238E27FC236}">
                  <a16:creationId xmlns:a16="http://schemas.microsoft.com/office/drawing/2014/main" id="{A7F78350-529C-4561-A754-DB623105D8F1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F9E90D-E129-4FE6-B6C5-A4D0E9843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105023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val 267">
            <a:extLst>
              <a:ext uri="{FF2B5EF4-FFF2-40B4-BE49-F238E27FC236}">
                <a16:creationId xmlns:a16="http://schemas.microsoft.com/office/drawing/2014/main" id="{7CA9B230-05B8-4596-9ACB-DAA81CE985F8}"/>
              </a:ext>
            </a:extLst>
          </p:cNvPr>
          <p:cNvSpPr/>
          <p:nvPr/>
        </p:nvSpPr>
        <p:spPr>
          <a:xfrm>
            <a:off x="7035892" y="4145124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/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1" name="TextBox 191">
                <a:extLst>
                  <a:ext uri="{FF2B5EF4-FFF2-40B4-BE49-F238E27FC236}">
                    <a16:creationId xmlns:a16="http://schemas.microsoft.com/office/drawing/2014/main" id="{E512C8A0-0BCD-4224-9489-4AFDCB494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1119" y="4283111"/>
                <a:ext cx="380717" cy="48109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451755D-1C36-40D4-A9BC-18F9E711CCD1}"/>
              </a:ext>
            </a:extLst>
          </p:cNvPr>
          <p:cNvSpPr/>
          <p:nvPr/>
        </p:nvSpPr>
        <p:spPr>
          <a:xfrm>
            <a:off x="8669050" y="3057047"/>
            <a:ext cx="1034397" cy="103439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0F8D6DDB-E0FC-4E08-BFE7-ECCCA0DD42F4}"/>
              </a:ext>
            </a:extLst>
          </p:cNvPr>
          <p:cNvSpPr/>
          <p:nvPr/>
        </p:nvSpPr>
        <p:spPr>
          <a:xfrm>
            <a:off x="9096323" y="3484320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/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𝒂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8" name="TextBox 191">
                <a:extLst>
                  <a:ext uri="{FF2B5EF4-FFF2-40B4-BE49-F238E27FC236}">
                    <a16:creationId xmlns:a16="http://schemas.microsoft.com/office/drawing/2014/main" id="{194F499C-158D-45E7-9C28-C2603095D2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1" y="2456338"/>
                <a:ext cx="380717" cy="481094"/>
              </a:xfrm>
              <a:prstGeom prst="rect">
                <a:avLst/>
              </a:prstGeom>
              <a:blipFill>
                <a:blip r:embed="rId6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/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𝒅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9" name="TextBox 191">
                <a:extLst>
                  <a:ext uri="{FF2B5EF4-FFF2-40B4-BE49-F238E27FC236}">
                    <a16:creationId xmlns:a16="http://schemas.microsoft.com/office/drawing/2014/main" id="{8D0100D5-6C47-410F-886F-8F1B3E634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5530" y="3026040"/>
                <a:ext cx="380717" cy="481094"/>
              </a:xfrm>
              <a:prstGeom prst="rect">
                <a:avLst/>
              </a:prstGeom>
              <a:blipFill>
                <a:blip r:embed="rId7"/>
                <a:stretch>
                  <a:fillRect b="-126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Oval 8">
            <a:extLst>
              <a:ext uri="{FF2B5EF4-FFF2-40B4-BE49-F238E27FC236}">
                <a16:creationId xmlns:a16="http://schemas.microsoft.com/office/drawing/2014/main" id="{62973EB6-43C7-4D0F-AC56-6FC0190CFBEC}"/>
              </a:ext>
            </a:extLst>
          </p:cNvPr>
          <p:cNvSpPr/>
          <p:nvPr/>
        </p:nvSpPr>
        <p:spPr>
          <a:xfrm>
            <a:off x="9096323" y="2967122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F5EFF842-AFF7-4C97-B083-D4317086F884}"/>
              </a:ext>
            </a:extLst>
          </p:cNvPr>
          <p:cNvSpPr/>
          <p:nvPr/>
        </p:nvSpPr>
        <p:spPr>
          <a:xfrm>
            <a:off x="9316601" y="4435878"/>
            <a:ext cx="1430607" cy="1430607"/>
          </a:xfrm>
          <a:prstGeom prst="ellipse">
            <a:avLst/>
          </a:prstGeom>
          <a:solidFill>
            <a:srgbClr val="F6B8B8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9699CD7D-EF55-463C-8854-27105E0B334D}"/>
              </a:ext>
            </a:extLst>
          </p:cNvPr>
          <p:cNvSpPr/>
          <p:nvPr/>
        </p:nvSpPr>
        <p:spPr>
          <a:xfrm>
            <a:off x="10298605" y="5686635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CC483FF3-9AEB-4EC7-BDAD-429ED9E54AF9}"/>
              </a:ext>
            </a:extLst>
          </p:cNvPr>
          <p:cNvSpPr/>
          <p:nvPr/>
        </p:nvSpPr>
        <p:spPr>
          <a:xfrm>
            <a:off x="9941979" y="5061256"/>
            <a:ext cx="179850" cy="1798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/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5" name="TextBox 191">
                <a:extLst>
                  <a:ext uri="{FF2B5EF4-FFF2-40B4-BE49-F238E27FC236}">
                    <a16:creationId xmlns:a16="http://schemas.microsoft.com/office/drawing/2014/main" id="{47468077-BFB8-4239-9373-E84CCD1F0F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38191" y="4670087"/>
                <a:ext cx="380717" cy="481094"/>
              </a:xfrm>
              <a:prstGeom prst="rect">
                <a:avLst/>
              </a:prstGeom>
              <a:blipFill>
                <a:blip r:embed="rId8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/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66" name="TextBox 191">
                <a:extLst>
                  <a:ext uri="{FF2B5EF4-FFF2-40B4-BE49-F238E27FC236}">
                    <a16:creationId xmlns:a16="http://schemas.microsoft.com/office/drawing/2014/main" id="{F917671A-9225-4548-945D-2F840F7E07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0010" y="4965678"/>
                <a:ext cx="380717" cy="481094"/>
              </a:xfrm>
              <a:prstGeom prst="rect">
                <a:avLst/>
              </a:prstGeom>
              <a:blipFill>
                <a:blip r:embed="rId9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9" name="Oval 268">
            <a:extLst>
              <a:ext uri="{FF2B5EF4-FFF2-40B4-BE49-F238E27FC236}">
                <a16:creationId xmlns:a16="http://schemas.microsoft.com/office/drawing/2014/main" id="{EDA2BD18-8717-4A08-8D75-CBA2E4548C30}"/>
              </a:ext>
            </a:extLst>
          </p:cNvPr>
          <p:cNvSpPr/>
          <p:nvPr/>
        </p:nvSpPr>
        <p:spPr>
          <a:xfrm>
            <a:off x="7941553" y="4345953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1414AD08-07FB-409B-81C2-13E20C5489AC}"/>
              </a:ext>
            </a:extLst>
          </p:cNvPr>
          <p:cNvSpPr/>
          <p:nvPr/>
        </p:nvSpPr>
        <p:spPr>
          <a:xfrm>
            <a:off x="6970890" y="4860661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/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4" name="TextBox 191">
                <a:extLst>
                  <a:ext uri="{FF2B5EF4-FFF2-40B4-BE49-F238E27FC236}">
                    <a16:creationId xmlns:a16="http://schemas.microsoft.com/office/drawing/2014/main" id="{31FD8864-8FC5-4222-9427-63F14BFDEE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4544" y="4764205"/>
                <a:ext cx="380717" cy="481094"/>
              </a:xfrm>
              <a:prstGeom prst="rect">
                <a:avLst/>
              </a:prstGeom>
              <a:blipFill>
                <a:blip r:embed="rId10"/>
                <a:stretch>
                  <a:fillRect b="-1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Oval 274">
            <a:extLst>
              <a:ext uri="{FF2B5EF4-FFF2-40B4-BE49-F238E27FC236}">
                <a16:creationId xmlns:a16="http://schemas.microsoft.com/office/drawing/2014/main" id="{98CB4549-D7AC-4B13-B52A-2E388BBEE475}"/>
              </a:ext>
            </a:extLst>
          </p:cNvPr>
          <p:cNvSpPr/>
          <p:nvPr/>
        </p:nvSpPr>
        <p:spPr>
          <a:xfrm>
            <a:off x="9569021" y="4705748"/>
            <a:ext cx="179850" cy="17985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/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baseline="-25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</m:oMath>
                  </m:oMathPara>
                </a14:m>
                <a:endParaRPr lang="en-US" sz="32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6" name="TextBox 191">
                <a:extLst>
                  <a:ext uri="{FF2B5EF4-FFF2-40B4-BE49-F238E27FC236}">
                    <a16:creationId xmlns:a16="http://schemas.microsoft.com/office/drawing/2014/main" id="{17B5EC12-DB9F-4F31-A1C2-651EE98F0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44174" y="5516818"/>
                <a:ext cx="380717" cy="481094"/>
              </a:xfrm>
              <a:prstGeom prst="rect">
                <a:avLst/>
              </a:prstGeom>
              <a:blipFill>
                <a:blip r:embed="rId11"/>
                <a:stretch>
                  <a:fillRect b="-12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/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7" name="TextBox 191">
                <a:extLst>
                  <a:ext uri="{FF2B5EF4-FFF2-40B4-BE49-F238E27FC236}">
                    <a16:creationId xmlns:a16="http://schemas.microsoft.com/office/drawing/2014/main" id="{D63DC4BE-1B2F-4332-878A-02084E49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73" y="3435852"/>
                <a:ext cx="380717" cy="661528"/>
              </a:xfrm>
              <a:prstGeom prst="rect">
                <a:avLst/>
              </a:prstGeom>
              <a:blipFill>
                <a:blip r:embed="rId12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/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78" name="TextBox 191">
                <a:extLst>
                  <a:ext uri="{FF2B5EF4-FFF2-40B4-BE49-F238E27FC236}">
                    <a16:creationId xmlns:a16="http://schemas.microsoft.com/office/drawing/2014/main" id="{5C237DF1-F095-4EA2-AB10-C5DC5FF5BC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1489" y="3728228"/>
                <a:ext cx="380717" cy="661528"/>
              </a:xfrm>
              <a:prstGeom prst="rect">
                <a:avLst/>
              </a:prstGeom>
              <a:blipFill>
                <a:blip r:embed="rId13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/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</m:e>
                        <m:sub>
                          <m:r>
                            <a:rPr lang="en-US" sz="4400" b="1" i="1" baseline="-2500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4400" b="1" baseline="-250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80" name="TextBox 191">
                <a:extLst>
                  <a:ext uri="{FF2B5EF4-FFF2-40B4-BE49-F238E27FC236}">
                    <a16:creationId xmlns:a16="http://schemas.microsoft.com/office/drawing/2014/main" id="{10B48540-E7B3-478A-9DCB-C79D1FD53E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41545" y="2364512"/>
                <a:ext cx="380717" cy="661528"/>
              </a:xfrm>
              <a:prstGeom prst="rect">
                <a:avLst/>
              </a:prstGeom>
              <a:blipFill>
                <a:blip r:embed="rId14"/>
                <a:stretch>
                  <a:fillRect b="-3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BF0CDDDF-FFD6-4D16-8BA3-FD50DDEAC862}"/>
              </a:ext>
            </a:extLst>
          </p:cNvPr>
          <p:cNvGrpSpPr/>
          <p:nvPr/>
        </p:nvGrpSpPr>
        <p:grpSpPr>
          <a:xfrm>
            <a:off x="7560836" y="4720204"/>
            <a:ext cx="380717" cy="481094"/>
            <a:chOff x="7560836" y="4679018"/>
            <a:chExt cx="380717" cy="4810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/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200" b="1" i="1" baseline="-25000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oMath>
                    </m:oMathPara>
                  </a14:m>
                  <a:endParaRPr lang="en-US" sz="32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72" name="TextBox 191">
                  <a:extLst>
                    <a:ext uri="{FF2B5EF4-FFF2-40B4-BE49-F238E27FC236}">
                      <a16:creationId xmlns:a16="http://schemas.microsoft.com/office/drawing/2014/main" id="{3CDB08EA-152E-4450-A298-B745DE908CD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0836" y="4679018"/>
                  <a:ext cx="380717" cy="481094"/>
                </a:xfrm>
                <a:prstGeom prst="rect">
                  <a:avLst/>
                </a:prstGeom>
                <a:blipFill>
                  <a:blip r:embed="rId19"/>
                  <a:stretch>
                    <a:fillRect b="-126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1E8D41F3-C46D-4FDB-BD74-7C45CEF60B33}"/>
                </a:ext>
              </a:extLst>
            </p:cNvPr>
            <p:cNvSpPr/>
            <p:nvPr/>
          </p:nvSpPr>
          <p:spPr>
            <a:xfrm>
              <a:off x="7665716" y="4751960"/>
              <a:ext cx="179850" cy="179850"/>
            </a:xfrm>
            <a:prstGeom prst="ellipse">
              <a:avLst/>
            </a:pr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69" name="TextBox 191">
            <a:extLst>
              <a:ext uri="{FF2B5EF4-FFF2-40B4-BE49-F238E27FC236}">
                <a16:creationId xmlns:a16="http://schemas.microsoft.com/office/drawing/2014/main" id="{39422812-742E-4D82-9E59-121DCF4CFB0D}"/>
              </a:ext>
            </a:extLst>
          </p:cNvPr>
          <p:cNvSpPr txBox="1"/>
          <p:nvPr/>
        </p:nvSpPr>
        <p:spPr>
          <a:xfrm>
            <a:off x="571460" y="6539633"/>
            <a:ext cx="7650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te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herical clusters are a simplification for illustration purposes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5F624E-AB21-4BD8-8C39-2D95EAD86C17}"/>
              </a:ext>
            </a:extLst>
          </p:cNvPr>
          <p:cNvSpPr txBox="1"/>
          <p:nvPr/>
        </p:nvSpPr>
        <p:spPr>
          <a:xfrm>
            <a:off x="874713" y="318367"/>
            <a:ext cx="276998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4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D068232-8456-45B0-A5C2-17EB49FBB2FC}"/>
              </a:ext>
            </a:extLst>
          </p:cNvPr>
          <p:cNvSpPr txBox="1"/>
          <p:nvPr/>
        </p:nvSpPr>
        <p:spPr>
          <a:xfrm>
            <a:off x="874713" y="1074167"/>
            <a:ext cx="16895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580A7D3-B786-4158-B0A7-9B8A3598F288}"/>
              </a:ext>
            </a:extLst>
          </p:cNvPr>
          <p:cNvGrpSpPr/>
          <p:nvPr/>
        </p:nvGrpSpPr>
        <p:grpSpPr>
          <a:xfrm>
            <a:off x="1155689" y="2038727"/>
            <a:ext cx="4457710" cy="801212"/>
            <a:chOff x="1155689" y="2038727"/>
            <a:chExt cx="4457710" cy="801212"/>
          </a:xfrm>
        </p:grpSpPr>
        <p:sp>
          <p:nvSpPr>
            <p:cNvPr id="48" name="TextBox 191">
              <a:extLst>
                <a:ext uri="{FF2B5EF4-FFF2-40B4-BE49-F238E27FC236}">
                  <a16:creationId xmlns:a16="http://schemas.microsoft.com/office/drawing/2014/main" id="{862B3E3C-8563-4CF8-8128-ECB9F5B7AF88}"/>
                </a:ext>
              </a:extLst>
            </p:cNvPr>
            <p:cNvSpPr txBox="1"/>
            <p:nvPr/>
          </p:nvSpPr>
          <p:spPr>
            <a:xfrm>
              <a:off x="2201204" y="2136101"/>
              <a:ext cx="341219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49" name="Group 10">
              <a:extLst>
                <a:ext uri="{FF2B5EF4-FFF2-40B4-BE49-F238E27FC236}">
                  <a16:creationId xmlns:a16="http://schemas.microsoft.com/office/drawing/2014/main" id="{EF125800-2219-445F-9BB7-0EB0601FD73B}"/>
                </a:ext>
              </a:extLst>
            </p:cNvPr>
            <p:cNvGrpSpPr/>
            <p:nvPr/>
          </p:nvGrpSpPr>
          <p:grpSpPr>
            <a:xfrm>
              <a:off x="1155689" y="2038727"/>
              <a:ext cx="811103" cy="801212"/>
              <a:chOff x="4279221" y="2033354"/>
              <a:chExt cx="1412875" cy="1395646"/>
            </a:xfrm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ADF3FEFE-710F-4AC0-B2DD-6B3A4C01B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FACB1281-B005-4B91-ABE7-DF59023A4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0" name="Picture 49" descr="Icon&#10;&#10;Description automatically generated">
              <a:extLst>
                <a:ext uri="{FF2B5EF4-FFF2-40B4-BE49-F238E27FC236}">
                  <a16:creationId xmlns:a16="http://schemas.microsoft.com/office/drawing/2014/main" id="{5AB788AE-AC27-47C1-8665-6CB23EA77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8666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86E23CE-BF42-4B1B-A86C-E0F243C8056B}"/>
              </a:ext>
            </a:extLst>
          </p:cNvPr>
          <p:cNvGrpSpPr/>
          <p:nvPr/>
        </p:nvGrpSpPr>
        <p:grpSpPr>
          <a:xfrm>
            <a:off x="752476" y="3547206"/>
            <a:ext cx="4987595" cy="801212"/>
            <a:chOff x="752476" y="3240975"/>
            <a:chExt cx="4987595" cy="801212"/>
          </a:xfrm>
        </p:grpSpPr>
        <p:sp>
          <p:nvSpPr>
            <p:cNvPr id="55" name="TextBox 192">
              <a:extLst>
                <a:ext uri="{FF2B5EF4-FFF2-40B4-BE49-F238E27FC236}">
                  <a16:creationId xmlns:a16="http://schemas.microsoft.com/office/drawing/2014/main" id="{5064D127-12B3-463B-B8E0-5F2FB452929D}"/>
                </a:ext>
              </a:extLst>
            </p:cNvPr>
            <p:cNvSpPr txBox="1"/>
            <p:nvPr/>
          </p:nvSpPr>
          <p:spPr>
            <a:xfrm>
              <a:off x="1751165" y="3350372"/>
              <a:ext cx="3988906" cy="61555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sight: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can only focus on the DCCs that cause the result to change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endParaRPr>
            </a:p>
          </p:txBody>
        </p:sp>
        <p:grpSp>
          <p:nvGrpSpPr>
            <p:cNvPr id="56" name="Group 10">
              <a:extLst>
                <a:ext uri="{FF2B5EF4-FFF2-40B4-BE49-F238E27FC236}">
                  <a16:creationId xmlns:a16="http://schemas.microsoft.com/office/drawing/2014/main" id="{38ECF7CC-4673-40CF-8C40-C2F87B8AEDCE}"/>
                </a:ext>
              </a:extLst>
            </p:cNvPr>
            <p:cNvGrpSpPr/>
            <p:nvPr/>
          </p:nvGrpSpPr>
          <p:grpSpPr>
            <a:xfrm>
              <a:off x="752476" y="3240975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B59FB2E9-2DC3-48D3-AE11-418C08939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82112CCA-8A0A-4A55-BD35-D4F10466DE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57" name="Picture 56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8F1EB33D-D682-4610-9677-FD906293E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201" y="3432514"/>
              <a:ext cx="398928" cy="39892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62C2232-9D4A-42EB-A62D-852AAA6C1D58}"/>
              </a:ext>
            </a:extLst>
          </p:cNvPr>
          <p:cNvGrpSpPr/>
          <p:nvPr/>
        </p:nvGrpSpPr>
        <p:grpSpPr>
          <a:xfrm>
            <a:off x="1155689" y="5055685"/>
            <a:ext cx="4881866" cy="801212"/>
            <a:chOff x="1155689" y="5055685"/>
            <a:chExt cx="4881866" cy="801212"/>
          </a:xfrm>
        </p:grpSpPr>
        <p:grpSp>
          <p:nvGrpSpPr>
            <p:cNvPr id="61" name="Group 10">
              <a:extLst>
                <a:ext uri="{FF2B5EF4-FFF2-40B4-BE49-F238E27FC236}">
                  <a16:creationId xmlns:a16="http://schemas.microsoft.com/office/drawing/2014/main" id="{6E1A1F99-4E97-42E9-A7B7-F5E6DC5F406E}"/>
                </a:ext>
              </a:extLst>
            </p:cNvPr>
            <p:cNvGrpSpPr/>
            <p:nvPr/>
          </p:nvGrpSpPr>
          <p:grpSpPr>
            <a:xfrm>
              <a:off x="1155689" y="5055685"/>
              <a:ext cx="811103" cy="801212"/>
              <a:chOff x="4279221" y="2033354"/>
              <a:chExt cx="1412875" cy="1395646"/>
            </a:xfrm>
          </p:grpSpPr>
          <p:sp>
            <p:nvSpPr>
              <p:cNvPr id="65" name="Freeform 5">
                <a:extLst>
                  <a:ext uri="{FF2B5EF4-FFF2-40B4-BE49-F238E27FC236}">
                    <a16:creationId xmlns:a16="http://schemas.microsoft.com/office/drawing/2014/main" id="{E57057AE-E884-48A4-B127-882F7052F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">
                <a:extLst>
                  <a:ext uri="{FF2B5EF4-FFF2-40B4-BE49-F238E27FC236}">
                    <a16:creationId xmlns:a16="http://schemas.microsoft.com/office/drawing/2014/main" id="{AF2A8997-0123-461A-B18A-5F18114EB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2DF33C7-041E-4E6C-A825-179E1F9ECF8E}"/>
                </a:ext>
              </a:extLst>
            </p:cNvPr>
            <p:cNvGrpSpPr/>
            <p:nvPr/>
          </p:nvGrpSpPr>
          <p:grpSpPr>
            <a:xfrm>
              <a:off x="1411091" y="5159148"/>
              <a:ext cx="4626464" cy="615553"/>
              <a:chOff x="1411091" y="4549548"/>
              <a:chExt cx="4626464" cy="615553"/>
            </a:xfrm>
          </p:grpSpPr>
          <p:pic>
            <p:nvPicPr>
              <p:cNvPr id="63" name="Picture 62" descr="Icon&#10;&#10;Description automatically generated">
                <a:extLst>
                  <a:ext uri="{FF2B5EF4-FFF2-40B4-BE49-F238E27FC236}">
                    <a16:creationId xmlns:a16="http://schemas.microsoft.com/office/drawing/2014/main" id="{05B43638-5D7E-4D59-B58D-C9C74245C0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1091" y="4683754"/>
                <a:ext cx="340803" cy="340803"/>
              </a:xfrm>
              <a:prstGeom prst="rect">
                <a:avLst/>
              </a:prstGeom>
            </p:spPr>
          </p:pic>
          <p:sp>
            <p:nvSpPr>
              <p:cNvPr id="64" name="TextBox 193">
                <a:extLst>
                  <a:ext uri="{FF2B5EF4-FFF2-40B4-BE49-F238E27FC236}">
                    <a16:creationId xmlns:a16="http://schemas.microsoft.com/office/drawing/2014/main" id="{9BF90C98-A21A-4CBB-AB29-4F3676D37AC7}"/>
                  </a:ext>
                </a:extLst>
              </p:cNvPr>
              <p:cNvSpPr txBox="1"/>
              <p:nvPr/>
            </p:nvSpPr>
            <p:spPr>
              <a:xfrm>
                <a:off x="2201204" y="4549548"/>
                <a:ext cx="3836351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ex stores DCCs 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ch that these combinations can be 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cated</a:t>
                </a: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quickly</a:t>
                </a: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519460-268D-447A-B7DD-BD1EEC19C4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0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728014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31634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valuation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304495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xperiment results - </a:t>
            </a:r>
            <a:r>
              <a:rPr lang="en-US" sz="160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DStream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B95F6DB9-7BE4-40C1-8D07-36063CE1A6D9}"/>
              </a:ext>
            </a:extLst>
          </p:cNvPr>
          <p:cNvGrpSpPr/>
          <p:nvPr/>
        </p:nvGrpSpPr>
        <p:grpSpPr>
          <a:xfrm>
            <a:off x="2190794" y="2104906"/>
            <a:ext cx="2243519" cy="661416"/>
            <a:chOff x="2000681" y="2086778"/>
            <a:chExt cx="2243519" cy="661416"/>
          </a:xfrm>
        </p:grpSpPr>
        <p:sp>
          <p:nvSpPr>
            <p:cNvPr id="93" name="TextBox 51">
              <a:extLst>
                <a:ext uri="{FF2B5EF4-FFF2-40B4-BE49-F238E27FC236}">
                  <a16:creationId xmlns:a16="http://schemas.microsoft.com/office/drawing/2014/main" id="{6CC5E981-D3CA-4254-9FD9-8D9174AE9DD6}"/>
                </a:ext>
              </a:extLst>
            </p:cNvPr>
            <p:cNvSpPr txBox="1"/>
            <p:nvPr/>
          </p:nvSpPr>
          <p:spPr>
            <a:xfrm>
              <a:off x="2000681" y="2086778"/>
              <a:ext cx="75879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Scalability</a:t>
              </a:r>
            </a:p>
          </p:txBody>
        </p:sp>
        <p:sp>
          <p:nvSpPr>
            <p:cNvPr id="94" name="TextBox 52">
              <a:extLst>
                <a:ext uri="{FF2B5EF4-FFF2-40B4-BE49-F238E27FC236}">
                  <a16:creationId xmlns:a16="http://schemas.microsoft.com/office/drawing/2014/main" id="{A50AE577-0313-43AF-A590-CEC9639397E2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err="1">
                  <a:solidFill>
                    <a:srgbClr val="404040"/>
                  </a:solidFill>
                  <a:cs typeface="Calibri Light" panose="020F0302020204030204" pitchFamily="34" charset="0"/>
                </a:rPr>
                <a:t>CDStream</a:t>
              </a:r>
              <a:r>
                <a:rPr lang="en-US" sz="1200">
                  <a:solidFill>
                    <a:srgbClr val="404040"/>
                  </a:solidFill>
                  <a:cs typeface="Calibri Light" panose="020F0302020204030204" pitchFamily="34" charset="0"/>
                </a:rPr>
                <a:t> can handle many streams and complex correlation patterns</a:t>
              </a:r>
            </a:p>
          </p:txBody>
        </p:sp>
      </p:grpSp>
      <p:grpSp>
        <p:nvGrpSpPr>
          <p:cNvPr id="96" name="Groep 95">
            <a:extLst>
              <a:ext uri="{FF2B5EF4-FFF2-40B4-BE49-F238E27FC236}">
                <a16:creationId xmlns:a16="http://schemas.microsoft.com/office/drawing/2014/main" id="{21379B95-8D19-47D7-8F6B-937CEF515C70}"/>
              </a:ext>
            </a:extLst>
          </p:cNvPr>
          <p:cNvGrpSpPr/>
          <p:nvPr/>
        </p:nvGrpSpPr>
        <p:grpSpPr>
          <a:xfrm>
            <a:off x="2190794" y="3307154"/>
            <a:ext cx="2243519" cy="661416"/>
            <a:chOff x="2000681" y="2086778"/>
            <a:chExt cx="2243519" cy="661416"/>
          </a:xfrm>
        </p:grpSpPr>
        <p:sp>
          <p:nvSpPr>
            <p:cNvPr id="97" name="TextBox 51">
              <a:extLst>
                <a:ext uri="{FF2B5EF4-FFF2-40B4-BE49-F238E27FC236}">
                  <a16:creationId xmlns:a16="http://schemas.microsoft.com/office/drawing/2014/main" id="{4F68BEED-375B-4EF7-A4B3-9CA7F55793BA}"/>
                </a:ext>
              </a:extLst>
            </p:cNvPr>
            <p:cNvSpPr txBox="1"/>
            <p:nvPr/>
          </p:nvSpPr>
          <p:spPr>
            <a:xfrm>
              <a:off x="2000681" y="2086778"/>
              <a:ext cx="84927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Robustness</a:t>
              </a:r>
            </a:p>
          </p:txBody>
        </p:sp>
        <p:sp>
          <p:nvSpPr>
            <p:cNvPr id="98" name="TextBox 52">
              <a:extLst>
                <a:ext uri="{FF2B5EF4-FFF2-40B4-BE49-F238E27FC236}">
                  <a16:creationId xmlns:a16="http://schemas.microsoft.com/office/drawing/2014/main" id="{A956EB3D-64DF-414C-A770-087397DFA4C1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err="1"/>
                <a:t>CDStream</a:t>
              </a:r>
              <a:r>
                <a:rPr lang="en-US" sz="1200"/>
                <a:t> outperforms CD on multiple datasets</a:t>
              </a:r>
              <a:endParaRPr lang="en-US" sz="1200">
                <a:solidFill>
                  <a:srgbClr val="404040"/>
                </a:solidFill>
                <a:cs typeface="Calibri Light" panose="020F0302020204030204" pitchFamily="34" charset="0"/>
              </a:endParaRPr>
            </a:p>
          </p:txBody>
        </p:sp>
      </p:grpSp>
      <p:grpSp>
        <p:nvGrpSpPr>
          <p:cNvPr id="99" name="Groep 98">
            <a:extLst>
              <a:ext uri="{FF2B5EF4-FFF2-40B4-BE49-F238E27FC236}">
                <a16:creationId xmlns:a16="http://schemas.microsoft.com/office/drawing/2014/main" id="{77FE9D9B-B15E-4F3D-9840-BDACAEC8C1EB}"/>
              </a:ext>
            </a:extLst>
          </p:cNvPr>
          <p:cNvGrpSpPr/>
          <p:nvPr/>
        </p:nvGrpSpPr>
        <p:grpSpPr>
          <a:xfrm>
            <a:off x="2190793" y="4512264"/>
            <a:ext cx="2320247" cy="661416"/>
            <a:chOff x="2000681" y="2086778"/>
            <a:chExt cx="2320247" cy="661416"/>
          </a:xfrm>
        </p:grpSpPr>
        <p:sp>
          <p:nvSpPr>
            <p:cNvPr id="100" name="TextBox 51">
              <a:extLst>
                <a:ext uri="{FF2B5EF4-FFF2-40B4-BE49-F238E27FC236}">
                  <a16:creationId xmlns:a16="http://schemas.microsoft.com/office/drawing/2014/main" id="{5C9F2F1E-772D-4E5E-B418-3EB051B489D5}"/>
                </a:ext>
              </a:extLst>
            </p:cNvPr>
            <p:cNvSpPr txBox="1"/>
            <p:nvPr/>
          </p:nvSpPr>
          <p:spPr>
            <a:xfrm>
              <a:off x="2000681" y="2086778"/>
              <a:ext cx="100777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>
                  <a:solidFill>
                    <a:srgbClr val="404040"/>
                  </a:solidFill>
                </a:rPr>
                <a:t>Sustainability</a:t>
              </a:r>
            </a:p>
          </p:txBody>
        </p:sp>
        <p:sp>
          <p:nvSpPr>
            <p:cNvPr id="106" name="TextBox 52">
              <a:extLst>
                <a:ext uri="{FF2B5EF4-FFF2-40B4-BE49-F238E27FC236}">
                  <a16:creationId xmlns:a16="http://schemas.microsoft.com/office/drawing/2014/main" id="{0F5AF06B-AE1A-4766-A35D-DE3E48BFF32E}"/>
                </a:ext>
              </a:extLst>
            </p:cNvPr>
            <p:cNvSpPr txBox="1"/>
            <p:nvPr/>
          </p:nvSpPr>
          <p:spPr>
            <a:xfrm>
              <a:off x="2000681" y="2370911"/>
              <a:ext cx="2320247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>
                  <a:solidFill>
                    <a:srgbClr val="404040"/>
                  </a:solidFill>
                  <a:cs typeface="Calibri Light" panose="020F0302020204030204" pitchFamily="34" charset="0"/>
                </a:rPr>
                <a:t>Performance remains relatively stable over the long-term</a:t>
              </a:r>
            </a:p>
          </p:txBody>
        </p:sp>
      </p:grpSp>
      <p:grpSp>
        <p:nvGrpSpPr>
          <p:cNvPr id="83" name="Group 10">
            <a:extLst>
              <a:ext uri="{FF2B5EF4-FFF2-40B4-BE49-F238E27FC236}">
                <a16:creationId xmlns:a16="http://schemas.microsoft.com/office/drawing/2014/main" id="{62304503-E005-4501-86EF-E88B9BC391E4}"/>
              </a:ext>
            </a:extLst>
          </p:cNvPr>
          <p:cNvGrpSpPr/>
          <p:nvPr/>
        </p:nvGrpSpPr>
        <p:grpSpPr>
          <a:xfrm>
            <a:off x="1109204" y="2038727"/>
            <a:ext cx="811103" cy="801212"/>
            <a:chOff x="4279221" y="2033354"/>
            <a:chExt cx="1412875" cy="1395646"/>
          </a:xfrm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2FB1F421-4937-49CE-9ED3-5A9CB4C2B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230EFE1E-3EEC-427B-AD2E-E490B69A9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6" name="Group 10">
            <a:extLst>
              <a:ext uri="{FF2B5EF4-FFF2-40B4-BE49-F238E27FC236}">
                <a16:creationId xmlns:a16="http://schemas.microsoft.com/office/drawing/2014/main" id="{E34556A2-7C05-49C8-9F8C-E1E8EDAEB5ED}"/>
              </a:ext>
            </a:extLst>
          </p:cNvPr>
          <p:cNvGrpSpPr/>
          <p:nvPr/>
        </p:nvGrpSpPr>
        <p:grpSpPr>
          <a:xfrm>
            <a:off x="1109204" y="3240975"/>
            <a:ext cx="811103" cy="801212"/>
            <a:chOff x="4279221" y="2033354"/>
            <a:chExt cx="1412875" cy="1395646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66CC504F-371E-4904-A84F-E6770B66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AE7B873E-C567-45D6-8BFC-5C08CCD32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9" name="Group 10">
            <a:extLst>
              <a:ext uri="{FF2B5EF4-FFF2-40B4-BE49-F238E27FC236}">
                <a16:creationId xmlns:a16="http://schemas.microsoft.com/office/drawing/2014/main" id="{5B099AA7-5B72-4A0A-81A3-3C905C656DDE}"/>
              </a:ext>
            </a:extLst>
          </p:cNvPr>
          <p:cNvGrpSpPr/>
          <p:nvPr/>
        </p:nvGrpSpPr>
        <p:grpSpPr>
          <a:xfrm>
            <a:off x="1109204" y="4446085"/>
            <a:ext cx="811103" cy="801212"/>
            <a:chOff x="4279221" y="2033354"/>
            <a:chExt cx="1412875" cy="1395646"/>
          </a:xfrm>
        </p:grpSpPr>
        <p:sp>
          <p:nvSpPr>
            <p:cNvPr id="90" name="Freeform 5">
              <a:extLst>
                <a:ext uri="{FF2B5EF4-FFF2-40B4-BE49-F238E27FC236}">
                  <a16:creationId xmlns:a16="http://schemas.microsoft.com/office/drawing/2014/main" id="{A0FDF9B4-21DF-4056-BF1A-491D8E755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">
              <a:extLst>
                <a:ext uri="{FF2B5EF4-FFF2-40B4-BE49-F238E27FC236}">
                  <a16:creationId xmlns:a16="http://schemas.microsoft.com/office/drawing/2014/main" id="{A275B892-7C7B-4221-A415-8B7491633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AE44BC7-96EB-4F12-A00D-D6CE01B5BFD7}"/>
              </a:ext>
            </a:extLst>
          </p:cNvPr>
          <p:cNvGrpSpPr/>
          <p:nvPr/>
        </p:nvGrpSpPr>
        <p:grpSpPr>
          <a:xfrm>
            <a:off x="4961739" y="3454235"/>
            <a:ext cx="3590608" cy="2425030"/>
            <a:chOff x="4961739" y="3454235"/>
            <a:chExt cx="3590608" cy="2425030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64A3E8B2-BA37-45C1-9509-D02B08608D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1739" y="3948976"/>
              <a:ext cx="3590608" cy="1930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kstvak 51">
              <a:extLst>
                <a:ext uri="{FF2B5EF4-FFF2-40B4-BE49-F238E27FC236}">
                  <a16:creationId xmlns:a16="http://schemas.microsoft.com/office/drawing/2014/main" id="{AA6D5A13-C8E5-411F-98E4-64510C4E10EE}"/>
                </a:ext>
              </a:extLst>
            </p:cNvPr>
            <p:cNvSpPr txBox="1"/>
            <p:nvPr/>
          </p:nvSpPr>
          <p:spPr>
            <a:xfrm>
              <a:off x="6236151" y="3454235"/>
              <a:ext cx="15397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Robustness</a:t>
              </a:r>
              <a:endParaRPr lang="en-NL" b="1">
                <a:solidFill>
                  <a:srgbClr val="3B3838"/>
                </a:solidFill>
              </a:endParaRPr>
            </a:p>
          </p:txBody>
        </p:sp>
      </p:grpSp>
      <p:pic>
        <p:nvPicPr>
          <p:cNvPr id="4" name="Picture 3" descr="A picture containing building, dome&#10;&#10;Description automatically generated">
            <a:extLst>
              <a:ext uri="{FF2B5EF4-FFF2-40B4-BE49-F238E27FC236}">
                <a16:creationId xmlns:a16="http://schemas.microsoft.com/office/drawing/2014/main" id="{FAF554A8-34C8-496A-A3BB-BD2D54BEA1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351" y="2190886"/>
            <a:ext cx="523875" cy="523875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0C1A3DA0-CEB4-4E81-82FB-F70A292836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284" y="4646202"/>
            <a:ext cx="412015" cy="41201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DCBA587-8088-429C-BA46-F66629F93D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898" y="3440779"/>
            <a:ext cx="382788" cy="38278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573B5D4-5FC7-4315-9FEB-A0965736A192}"/>
              </a:ext>
            </a:extLst>
          </p:cNvPr>
          <p:cNvGrpSpPr/>
          <p:nvPr/>
        </p:nvGrpSpPr>
        <p:grpSpPr>
          <a:xfrm>
            <a:off x="4912067" y="1278834"/>
            <a:ext cx="6923950" cy="1861489"/>
            <a:chOff x="4912067" y="1278834"/>
            <a:chExt cx="6923950" cy="1861489"/>
          </a:xfrm>
        </p:grpSpPr>
        <p:sp>
          <p:nvSpPr>
            <p:cNvPr id="52" name="Tekstvak 51">
              <a:extLst>
                <a:ext uri="{FF2B5EF4-FFF2-40B4-BE49-F238E27FC236}">
                  <a16:creationId xmlns:a16="http://schemas.microsoft.com/office/drawing/2014/main" id="{B653D48B-03BD-46F5-B3E7-0C066428C3F4}"/>
                </a:ext>
              </a:extLst>
            </p:cNvPr>
            <p:cNvSpPr txBox="1"/>
            <p:nvPr/>
          </p:nvSpPr>
          <p:spPr>
            <a:xfrm>
              <a:off x="7331977" y="1278834"/>
              <a:ext cx="27898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Scalability</a:t>
              </a:r>
              <a:r>
                <a:rPr lang="nl-NL" b="1">
                  <a:solidFill>
                    <a:srgbClr val="3B3838"/>
                  </a:solidFill>
                </a:rPr>
                <a:t> &amp; </a:t>
              </a:r>
              <a:r>
                <a:rPr lang="nl-NL" b="1" err="1">
                  <a:solidFill>
                    <a:srgbClr val="3B3838"/>
                  </a:solidFill>
                </a:rPr>
                <a:t>Generality</a:t>
              </a:r>
              <a:endParaRPr lang="en-NL" b="1">
                <a:solidFill>
                  <a:srgbClr val="3B3838"/>
                </a:solidFill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55C925AD-C0A9-46F2-9890-76261043E6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067" y="1692424"/>
              <a:ext cx="6923950" cy="14478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35079E-A736-47F1-864D-B5D2ABE14781}"/>
              </a:ext>
            </a:extLst>
          </p:cNvPr>
          <p:cNvGrpSpPr/>
          <p:nvPr/>
        </p:nvGrpSpPr>
        <p:grpSpPr>
          <a:xfrm>
            <a:off x="8791668" y="3442338"/>
            <a:ext cx="2976809" cy="2442909"/>
            <a:chOff x="8791668" y="3442338"/>
            <a:chExt cx="2976809" cy="2442909"/>
          </a:xfrm>
        </p:grpSpPr>
        <p:sp>
          <p:nvSpPr>
            <p:cNvPr id="43" name="Tekstvak 51">
              <a:extLst>
                <a:ext uri="{FF2B5EF4-FFF2-40B4-BE49-F238E27FC236}">
                  <a16:creationId xmlns:a16="http://schemas.microsoft.com/office/drawing/2014/main" id="{F261D1BE-AD6F-4926-AFE1-0296D868FC11}"/>
                </a:ext>
              </a:extLst>
            </p:cNvPr>
            <p:cNvSpPr txBox="1"/>
            <p:nvPr/>
          </p:nvSpPr>
          <p:spPr>
            <a:xfrm>
              <a:off x="9577738" y="3442338"/>
              <a:ext cx="15397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b="1" err="1">
                  <a:solidFill>
                    <a:srgbClr val="3B3838"/>
                  </a:solidFill>
                </a:rPr>
                <a:t>Sustainability</a:t>
              </a:r>
              <a:endParaRPr lang="en-NL" b="1">
                <a:solidFill>
                  <a:srgbClr val="3B3838"/>
                </a:solidFill>
              </a:endParaRPr>
            </a:p>
          </p:txBody>
        </p:sp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C2800ECF-E918-4931-B324-BD7924C8BC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668" y="3920202"/>
              <a:ext cx="2976809" cy="1965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3FF6A31-E3A0-4222-8736-19698A8C3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41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42411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2" y="910465"/>
            <a:ext cx="34880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mpact of other facto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51C71FB-B8A6-4319-86E5-EA768EB12605}"/>
              </a:ext>
            </a:extLst>
          </p:cNvPr>
          <p:cNvSpPr/>
          <p:nvPr/>
        </p:nvSpPr>
        <p:spPr>
          <a:xfrm>
            <a:off x="0" y="6117910"/>
            <a:ext cx="12192000" cy="7286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F31C662-F43C-4A54-BBE7-D943EB69A701}"/>
              </a:ext>
            </a:extLst>
          </p:cNvPr>
          <p:cNvGrpSpPr/>
          <p:nvPr/>
        </p:nvGrpSpPr>
        <p:grpSpPr>
          <a:xfrm>
            <a:off x="2358870" y="1548412"/>
            <a:ext cx="7474261" cy="2167670"/>
            <a:chOff x="2811784" y="1724392"/>
            <a:chExt cx="7474261" cy="2167670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B36AF7A9-4105-4E38-8421-669B34563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1784" y="1930856"/>
              <a:ext cx="2638425" cy="1754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3C710543-DCE7-4451-BA7D-3B1429D208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4085" y="1724392"/>
              <a:ext cx="3421960" cy="2167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DB87A42-3422-492F-8945-4C09C5D02DBE}"/>
              </a:ext>
            </a:extLst>
          </p:cNvPr>
          <p:cNvGrpSpPr/>
          <p:nvPr/>
        </p:nvGrpSpPr>
        <p:grpSpPr>
          <a:xfrm>
            <a:off x="1017997" y="3745170"/>
            <a:ext cx="10156006" cy="2254307"/>
            <a:chOff x="1689363" y="3921150"/>
            <a:chExt cx="10156006" cy="2254307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5A7DEBA-7CA2-4535-88EB-59FC82C6A8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9363" y="4173303"/>
              <a:ext cx="2736928" cy="18288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430DC88E-A840-4298-B880-484390695D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2441" y="4007787"/>
              <a:ext cx="3372701" cy="2167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C9F04E8E-F37D-4C07-B685-FCFA3AE39F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1292" y="3921150"/>
              <a:ext cx="3574077" cy="2167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0450160"/>
      </p:ext>
    </p:extLst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52334" y="-92128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9" name="Freeform 5">
            <a:extLst>
              <a:ext uri="{FF2B5EF4-FFF2-40B4-BE49-F238E27FC236}">
                <a16:creationId xmlns:a16="http://schemas.microsoft.com/office/drawing/2014/main" id="{020044D4-C8D1-44C7-A1C9-450A0FCF348D}"/>
              </a:ext>
            </a:extLst>
          </p:cNvPr>
          <p:cNvSpPr>
            <a:spLocks/>
          </p:cNvSpPr>
          <p:nvPr/>
        </p:nvSpPr>
        <p:spPr bwMode="auto">
          <a:xfrm>
            <a:off x="667582" y="1849427"/>
            <a:ext cx="1866775" cy="386896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3" name="Groep 2">
            <a:extLst>
              <a:ext uri="{FF2B5EF4-FFF2-40B4-BE49-F238E27FC236}">
                <a16:creationId xmlns:a16="http://schemas.microsoft.com/office/drawing/2014/main" id="{AC99C93D-020B-4A0F-84F2-16908CA4B21F}"/>
              </a:ext>
            </a:extLst>
          </p:cNvPr>
          <p:cNvGrpSpPr/>
          <p:nvPr/>
        </p:nvGrpSpPr>
        <p:grpSpPr>
          <a:xfrm>
            <a:off x="686764" y="1836467"/>
            <a:ext cx="954270" cy="954270"/>
            <a:chOff x="882839" y="1322465"/>
            <a:chExt cx="1115079" cy="111507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853BCCF1-4BE0-4574-94B1-1BDD59F8C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D2901B5F-78AF-4352-B0B9-72C2B8A97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81">
              <a:extLst>
                <a:ext uri="{FF2B5EF4-FFF2-40B4-BE49-F238E27FC236}">
                  <a16:creationId xmlns:a16="http://schemas.microsoft.com/office/drawing/2014/main" id="{0E120ACA-7A72-4B57-A05F-82497880560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ep 3">
            <a:extLst>
              <a:ext uri="{FF2B5EF4-FFF2-40B4-BE49-F238E27FC236}">
                <a16:creationId xmlns:a16="http://schemas.microsoft.com/office/drawing/2014/main" id="{E8FD25AE-8F2B-45B4-9F0D-34419BC1482D}"/>
              </a:ext>
            </a:extLst>
          </p:cNvPr>
          <p:cNvGrpSpPr/>
          <p:nvPr/>
        </p:nvGrpSpPr>
        <p:grpSpPr>
          <a:xfrm>
            <a:off x="1577020" y="2821488"/>
            <a:ext cx="953004" cy="949207"/>
            <a:chOff x="1923117" y="2473477"/>
            <a:chExt cx="1113600" cy="1109163"/>
          </a:xfrm>
        </p:grpSpPr>
        <p:sp>
          <p:nvSpPr>
            <p:cNvPr id="149" name="Oval 8">
              <a:extLst>
                <a:ext uri="{FF2B5EF4-FFF2-40B4-BE49-F238E27FC236}">
                  <a16:creationId xmlns:a16="http://schemas.microsoft.com/office/drawing/2014/main" id="{7D1F119E-7A6F-4647-B63A-407733D40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51E6DFD4-01E1-4D4B-B907-40835E4EE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83">
              <a:extLst>
                <a:ext uri="{FF2B5EF4-FFF2-40B4-BE49-F238E27FC236}">
                  <a16:creationId xmlns:a16="http://schemas.microsoft.com/office/drawing/2014/main" id="{984EC344-0061-4065-85FA-8C60B94DA0F9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oep 92">
            <a:extLst>
              <a:ext uri="{FF2B5EF4-FFF2-40B4-BE49-F238E27FC236}">
                <a16:creationId xmlns:a16="http://schemas.microsoft.com/office/drawing/2014/main" id="{D79D2F0F-FF72-4A06-A7BF-BE6A2492FF2C}"/>
              </a:ext>
            </a:extLst>
          </p:cNvPr>
          <p:cNvGrpSpPr/>
          <p:nvPr/>
        </p:nvGrpSpPr>
        <p:grpSpPr>
          <a:xfrm>
            <a:off x="679809" y="3805012"/>
            <a:ext cx="954270" cy="954270"/>
            <a:chOff x="882839" y="1322465"/>
            <a:chExt cx="1115079" cy="1115079"/>
          </a:xfrm>
        </p:grpSpPr>
        <p:sp>
          <p:nvSpPr>
            <p:cNvPr id="167" name="Oval 6">
              <a:extLst>
                <a:ext uri="{FF2B5EF4-FFF2-40B4-BE49-F238E27FC236}">
                  <a16:creationId xmlns:a16="http://schemas.microsoft.com/office/drawing/2014/main" id="{66F34B41-0C18-4023-8E7C-C1C329C26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AC29FF8-2907-46E8-8205-1A416F35F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81">
              <a:extLst>
                <a:ext uri="{FF2B5EF4-FFF2-40B4-BE49-F238E27FC236}">
                  <a16:creationId xmlns:a16="http://schemas.microsoft.com/office/drawing/2014/main" id="{D19F112F-3F08-4AE9-A14D-B5D86B949FBE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0" name="Groep 126">
            <a:extLst>
              <a:ext uri="{FF2B5EF4-FFF2-40B4-BE49-F238E27FC236}">
                <a16:creationId xmlns:a16="http://schemas.microsoft.com/office/drawing/2014/main" id="{B32A68EB-438D-41B0-8DC7-F4716FF3A926}"/>
              </a:ext>
            </a:extLst>
          </p:cNvPr>
          <p:cNvGrpSpPr/>
          <p:nvPr/>
        </p:nvGrpSpPr>
        <p:grpSpPr>
          <a:xfrm>
            <a:off x="1572687" y="4777073"/>
            <a:ext cx="953004" cy="949207"/>
            <a:chOff x="1923117" y="2473477"/>
            <a:chExt cx="1113600" cy="1109163"/>
          </a:xfrm>
        </p:grpSpPr>
        <p:sp>
          <p:nvSpPr>
            <p:cNvPr id="171" name="Oval 8">
              <a:extLst>
                <a:ext uri="{FF2B5EF4-FFF2-40B4-BE49-F238E27FC236}">
                  <a16:creationId xmlns:a16="http://schemas.microsoft.com/office/drawing/2014/main" id="{E05F2A05-B807-4883-8C2C-5840605AA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1">
              <a:extLst>
                <a:ext uri="{FF2B5EF4-FFF2-40B4-BE49-F238E27FC236}">
                  <a16:creationId xmlns:a16="http://schemas.microsoft.com/office/drawing/2014/main" id="{375E87D6-D368-43AC-9777-7769D9B36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83">
              <a:extLst>
                <a:ext uri="{FF2B5EF4-FFF2-40B4-BE49-F238E27FC236}">
                  <a16:creationId xmlns:a16="http://schemas.microsoft.com/office/drawing/2014/main" id="{A17AD9DA-E36B-4670-8066-4E47258BFEC8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5537BA8-C718-4510-8346-2891BE8F9F0E}"/>
              </a:ext>
            </a:extLst>
          </p:cNvPr>
          <p:cNvGrpSpPr/>
          <p:nvPr/>
        </p:nvGrpSpPr>
        <p:grpSpPr>
          <a:xfrm>
            <a:off x="1848712" y="4984404"/>
            <a:ext cx="4818090" cy="553998"/>
            <a:chOff x="1848712" y="4984404"/>
            <a:chExt cx="4818090" cy="553998"/>
          </a:xfrm>
        </p:grpSpPr>
        <p:pic>
          <p:nvPicPr>
            <p:cNvPr id="34" name="Picture 33" descr="Icon&#10;&#10;Description automatically generated">
              <a:extLst>
                <a:ext uri="{FF2B5EF4-FFF2-40B4-BE49-F238E27FC236}">
                  <a16:creationId xmlns:a16="http://schemas.microsoft.com/office/drawing/2014/main" id="{6DD0C6AE-4B7C-4956-B5BF-0E26B8AA2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8712" y="5062131"/>
              <a:ext cx="398544" cy="398544"/>
            </a:xfrm>
            <a:prstGeom prst="rect">
              <a:avLst/>
            </a:prstGeom>
          </p:spPr>
        </p:pic>
        <p:sp>
          <p:nvSpPr>
            <p:cNvPr id="35" name="Google Shape;349;p22">
              <a:extLst>
                <a:ext uri="{FF2B5EF4-FFF2-40B4-BE49-F238E27FC236}">
                  <a16:creationId xmlns:a16="http://schemas.microsoft.com/office/drawing/2014/main" id="{46CFE313-FBA3-4A06-8BF6-048D703FB410}"/>
                </a:ext>
              </a:extLst>
            </p:cNvPr>
            <p:cNvSpPr/>
            <p:nvPr/>
          </p:nvSpPr>
          <p:spPr>
            <a:xfrm>
              <a:off x="2944725" y="4984404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Other example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: neuroscience, finance, medicine, genomics, ...</a:t>
              </a:r>
              <a:endParaRPr lang="en-US" sz="2000" b="1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0126315-A0F1-43A2-A04E-CE46A6E87D90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63AA56C-EB47-402B-B963-012D32B77E76}"/>
              </a:ext>
            </a:extLst>
          </p:cNvPr>
          <p:cNvSpPr txBox="1"/>
          <p:nvPr/>
        </p:nvSpPr>
        <p:spPr>
          <a:xfrm>
            <a:off x="874713" y="1074167"/>
            <a:ext cx="29687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Multivariate correlation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1BE101E-6CAD-45E2-9345-BE502EDD582D}"/>
              </a:ext>
            </a:extLst>
          </p:cNvPr>
          <p:cNvGrpSpPr/>
          <p:nvPr/>
        </p:nvGrpSpPr>
        <p:grpSpPr>
          <a:xfrm>
            <a:off x="990834" y="4003594"/>
            <a:ext cx="5496740" cy="553998"/>
            <a:chOff x="990834" y="4003594"/>
            <a:chExt cx="5496740" cy="553998"/>
          </a:xfrm>
        </p:grpSpPr>
        <p:pic>
          <p:nvPicPr>
            <p:cNvPr id="42" name="Picture 41" descr="Icon&#10;&#10;Description automatically generated">
              <a:extLst>
                <a:ext uri="{FF2B5EF4-FFF2-40B4-BE49-F238E27FC236}">
                  <a16:creationId xmlns:a16="http://schemas.microsoft.com/office/drawing/2014/main" id="{83209A46-35A3-4DC4-A8DB-1E1D19E99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834" y="4118476"/>
              <a:ext cx="324234" cy="324234"/>
            </a:xfrm>
            <a:prstGeom prst="rect">
              <a:avLst/>
            </a:prstGeom>
          </p:spPr>
        </p:pic>
        <p:sp>
          <p:nvSpPr>
            <p:cNvPr id="43" name="Google Shape;349;p22">
              <a:extLst>
                <a:ext uri="{FF2B5EF4-FFF2-40B4-BE49-F238E27FC236}">
                  <a16:creationId xmlns:a16="http://schemas.microsoft.com/office/drawing/2014/main" id="{10254851-E68D-4AB1-B652-D78BA11246FF}"/>
                </a:ext>
              </a:extLst>
            </p:cNvPr>
            <p:cNvSpPr/>
            <p:nvPr/>
          </p:nvSpPr>
          <p:spPr>
            <a:xfrm>
              <a:off x="2280599" y="4003594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Recent work shows importance </a:t>
              </a:r>
              <a:b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</a:b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of 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  <a:sym typeface="Roboto Light"/>
                </a:rPr>
                <a:t>multivariate correlation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0FC8B39-F376-43A4-814A-9DF7F8273F97}"/>
              </a:ext>
            </a:extLst>
          </p:cNvPr>
          <p:cNvGrpSpPr/>
          <p:nvPr/>
        </p:nvGrpSpPr>
        <p:grpSpPr>
          <a:xfrm>
            <a:off x="1001703" y="2036603"/>
            <a:ext cx="5450552" cy="553998"/>
            <a:chOff x="1001703" y="2036603"/>
            <a:chExt cx="5450552" cy="553998"/>
          </a:xfrm>
        </p:grpSpPr>
        <p:sp>
          <p:nvSpPr>
            <p:cNvPr id="45" name="Google Shape;349;p22">
              <a:extLst>
                <a:ext uri="{FF2B5EF4-FFF2-40B4-BE49-F238E27FC236}">
                  <a16:creationId xmlns:a16="http://schemas.microsoft.com/office/drawing/2014/main" id="{0B7B4989-2475-41C3-84D1-0B0AFB8898AC}"/>
                </a:ext>
              </a:extLst>
            </p:cNvPr>
            <p:cNvSpPr/>
            <p:nvPr/>
          </p:nvSpPr>
          <p:spPr>
            <a:xfrm>
              <a:off x="2245280" y="2036603"/>
              <a:ext cx="4206975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Correlation Analysis</a:t>
              </a: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 panose="020B0502040204020203" pitchFamily="34" charset="0"/>
                </a:rPr>
                <a:t> is a common tool for Complex Data Analysis</a:t>
              </a:r>
              <a:endParaRPr sz="20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  <a:sym typeface="Roboto Light"/>
              </a:endParaRPr>
            </a:p>
          </p:txBody>
        </p:sp>
        <p:pic>
          <p:nvPicPr>
            <p:cNvPr id="46" name="Picture 45" descr="A picture containing clipart, vector graphics&#10;&#10;Description automatically generated">
              <a:extLst>
                <a:ext uri="{FF2B5EF4-FFF2-40B4-BE49-F238E27FC236}">
                  <a16:creationId xmlns:a16="http://schemas.microsoft.com/office/drawing/2014/main" id="{BA4DBC22-5A37-42CB-8378-0DEDFC848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03" y="2154110"/>
              <a:ext cx="328413" cy="328413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FB4ED62-E550-4A7A-A8FB-13CDCA401608}"/>
              </a:ext>
            </a:extLst>
          </p:cNvPr>
          <p:cNvGrpSpPr/>
          <p:nvPr/>
        </p:nvGrpSpPr>
        <p:grpSpPr>
          <a:xfrm>
            <a:off x="1906803" y="3017377"/>
            <a:ext cx="4760000" cy="553998"/>
            <a:chOff x="1906803" y="3017377"/>
            <a:chExt cx="4760000" cy="553998"/>
          </a:xfrm>
        </p:grpSpPr>
        <p:pic>
          <p:nvPicPr>
            <p:cNvPr id="48" name="Picture 47" descr="A picture containing polygon&#10;&#10;Description automatically generated">
              <a:extLst>
                <a:ext uri="{FF2B5EF4-FFF2-40B4-BE49-F238E27FC236}">
                  <a16:creationId xmlns:a16="http://schemas.microsoft.com/office/drawing/2014/main" id="{6024BE9B-6E6C-4165-9466-033A250A4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6803" y="3145597"/>
              <a:ext cx="297558" cy="297558"/>
            </a:xfrm>
            <a:prstGeom prst="rect">
              <a:avLst/>
            </a:prstGeom>
          </p:spPr>
        </p:pic>
        <p:sp>
          <p:nvSpPr>
            <p:cNvPr id="49" name="Google Shape;349;p22">
              <a:extLst>
                <a:ext uri="{FF2B5EF4-FFF2-40B4-BE49-F238E27FC236}">
                  <a16:creationId xmlns:a16="http://schemas.microsoft.com/office/drawing/2014/main" id="{9038E5D7-D190-4D54-91F0-755F0FE80E9C}"/>
                </a:ext>
              </a:extLst>
            </p:cNvPr>
            <p:cNvSpPr/>
            <p:nvPr/>
          </p:nvSpPr>
          <p:spPr>
            <a:xfrm>
              <a:off x="2944726" y="3017377"/>
              <a:ext cx="3722077" cy="5539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ts val="1100"/>
              </a:pPr>
              <a:r>
                <a:rPr lang="en-US" sz="2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Most research has been focused on discovery of </a:t>
              </a:r>
              <a:r>
                <a:rPr lang="en-US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Light"/>
                </a:rPr>
                <a:t>pairwise relations</a:t>
              </a:r>
            </a:p>
          </p:txBody>
        </p:sp>
      </p:grp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2A46A7A9-A88B-4C61-969D-4373D1B769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802" y="1571719"/>
            <a:ext cx="4929864" cy="477159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03FDDC-4FB4-4378-B3DA-147A43FDD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5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964296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>
            <a:extLst>
              <a:ext uri="{FF2B5EF4-FFF2-40B4-BE49-F238E27FC236}">
                <a16:creationId xmlns:a16="http://schemas.microsoft.com/office/drawing/2014/main" id="{C50084B0-B05A-4197-A5B2-F1514A9809A3}"/>
              </a:ext>
            </a:extLst>
          </p:cNvPr>
          <p:cNvGrpSpPr/>
          <p:nvPr/>
        </p:nvGrpSpPr>
        <p:grpSpPr>
          <a:xfrm>
            <a:off x="574703" y="3345265"/>
            <a:ext cx="7312857" cy="2754419"/>
            <a:chOff x="1247004" y="2054367"/>
            <a:chExt cx="7312857" cy="2754419"/>
          </a:xfrm>
        </p:grpSpPr>
        <p:grpSp>
          <p:nvGrpSpPr>
            <p:cNvPr id="89" name="multipearson">
              <a:extLst>
                <a:ext uri="{FF2B5EF4-FFF2-40B4-BE49-F238E27FC236}">
                  <a16:creationId xmlns:a16="http://schemas.microsoft.com/office/drawing/2014/main" id="{CF6EEF68-40BE-4E91-80AA-65BAC30467A3}"/>
                </a:ext>
              </a:extLst>
            </p:cNvPr>
            <p:cNvGrpSpPr/>
            <p:nvPr/>
          </p:nvGrpSpPr>
          <p:grpSpPr>
            <a:xfrm>
              <a:off x="2345195" y="2502480"/>
              <a:ext cx="5065258" cy="867994"/>
              <a:chOff x="1880615" y="3622115"/>
              <a:chExt cx="5065258" cy="867994"/>
            </a:xfrm>
          </p:grpSpPr>
          <p:sp>
            <p:nvSpPr>
              <p:cNvPr id="105" name="Rectangle: Rounded Corners 104">
                <a:extLst>
                  <a:ext uri="{FF2B5EF4-FFF2-40B4-BE49-F238E27FC236}">
                    <a16:creationId xmlns:a16="http://schemas.microsoft.com/office/drawing/2014/main" id="{6F3D50E2-80DB-4D7D-A84C-C80FB9726340}"/>
                  </a:ext>
                </a:extLst>
              </p:cNvPr>
              <p:cNvSpPr/>
              <p:nvPr/>
            </p:nvSpPr>
            <p:spPr>
              <a:xfrm>
                <a:off x="1990401" y="3622115"/>
                <a:ext cx="4955472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6" name="TextBox 191">
                <a:extLst>
                  <a:ext uri="{FF2B5EF4-FFF2-40B4-BE49-F238E27FC236}">
                    <a16:creationId xmlns:a16="http://schemas.microsoft.com/office/drawing/2014/main" id="{359963AE-B3B7-4AD6-9E02-D3909AAAC6F3}"/>
                  </a:ext>
                </a:extLst>
              </p:cNvPr>
              <p:cNvSpPr txBox="1"/>
              <p:nvPr/>
            </p:nvSpPr>
            <p:spPr>
              <a:xfrm>
                <a:off x="1880615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72438CEB-F79B-41C9-A26B-A92D115336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3570" y="4033998"/>
                <a:ext cx="0" cy="17911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avg">
              <a:extLst>
                <a:ext uri="{FF2B5EF4-FFF2-40B4-BE49-F238E27FC236}">
                  <a16:creationId xmlns:a16="http://schemas.microsoft.com/office/drawing/2014/main" id="{8548BB11-FCAA-417F-BA1C-CAE0DAF55B3E}"/>
                </a:ext>
              </a:extLst>
            </p:cNvPr>
            <p:cNvGrpSpPr/>
            <p:nvPr/>
          </p:nvGrpSpPr>
          <p:grpSpPr>
            <a:xfrm>
              <a:off x="3814995" y="2564426"/>
              <a:ext cx="2875979" cy="809689"/>
              <a:chOff x="4977988" y="2395663"/>
              <a:chExt cx="2875979" cy="809689"/>
            </a:xfrm>
          </p:grpSpPr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264A3800-2158-4EC3-A0DC-8742B985B2B5}"/>
                  </a:ext>
                </a:extLst>
              </p:cNvPr>
              <p:cNvSpPr/>
              <p:nvPr/>
            </p:nvSpPr>
            <p:spPr>
              <a:xfrm>
                <a:off x="4977988" y="2395663"/>
                <a:ext cx="2434863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3" name="TextBox 191">
                <a:extLst>
                  <a:ext uri="{FF2B5EF4-FFF2-40B4-BE49-F238E27FC236}">
                    <a16:creationId xmlns:a16="http://schemas.microsoft.com/office/drawing/2014/main" id="{E272AE02-F6B2-4971-A671-4D6F9EBD8D36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04" name="Connector: Elbow 103">
                <a:extLst>
                  <a:ext uri="{FF2B5EF4-FFF2-40B4-BE49-F238E27FC236}">
                    <a16:creationId xmlns:a16="http://schemas.microsoft.com/office/drawing/2014/main" id="{7D843B05-07E0-4464-9BAB-8E6A4A7AF333}"/>
                  </a:ext>
                </a:extLst>
              </p:cNvPr>
              <p:cNvCxnSpPr>
                <a:cxnSpLocks/>
                <a:endCxn id="103" idx="1"/>
              </p:cNvCxnSpPr>
              <p:nvPr/>
            </p:nvCxnSpPr>
            <p:spPr>
              <a:xfrm>
                <a:off x="5279830" y="2745600"/>
                <a:ext cx="537084" cy="321253"/>
              </a:xfrm>
              <a:prstGeom prst="bentConnector3">
                <a:avLst>
                  <a:gd name="adj1" fmla="val 2065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th query">
              <a:extLst>
                <a:ext uri="{FF2B5EF4-FFF2-40B4-BE49-F238E27FC236}">
                  <a16:creationId xmlns:a16="http://schemas.microsoft.com/office/drawing/2014/main" id="{367A3CBC-EFAC-4CAA-B185-29E639D06E06}"/>
                </a:ext>
              </a:extLst>
            </p:cNvPr>
            <p:cNvGrpSpPr/>
            <p:nvPr/>
          </p:nvGrpSpPr>
          <p:grpSpPr>
            <a:xfrm>
              <a:off x="2133904" y="4397703"/>
              <a:ext cx="3289725" cy="411083"/>
              <a:chOff x="86042" y="4149101"/>
              <a:chExt cx="3289725" cy="411083"/>
            </a:xfrm>
          </p:grpSpPr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32CC4CC1-5E20-4EA8-A54D-832544E1DFA0}"/>
                  </a:ext>
                </a:extLst>
              </p:cNvPr>
              <p:cNvSpPr/>
              <p:nvPr/>
            </p:nvSpPr>
            <p:spPr>
              <a:xfrm>
                <a:off x="86042" y="4149101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00" name="TextBox 191">
                <a:extLst>
                  <a:ext uri="{FF2B5EF4-FFF2-40B4-BE49-F238E27FC236}">
                    <a16:creationId xmlns:a16="http://schemas.microsoft.com/office/drawing/2014/main" id="{6743DEBB-8ED4-4BF2-80E7-6EBB5ECDF83A}"/>
                  </a:ext>
                </a:extLst>
              </p:cNvPr>
              <p:cNvSpPr txBox="1"/>
              <p:nvPr/>
            </p:nvSpPr>
            <p:spPr>
              <a:xfrm>
                <a:off x="1588104" y="4214083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E6D2B0D-B117-4BEE-B7D6-E40446240674}"/>
                  </a:ext>
                </a:extLst>
              </p:cNvPr>
              <p:cNvCxnSpPr>
                <a:cxnSpLocks/>
                <a:stCxn id="99" idx="3"/>
                <a:endCxn id="100" idx="1"/>
              </p:cNvCxnSpPr>
              <p:nvPr/>
            </p:nvCxnSpPr>
            <p:spPr>
              <a:xfrm flipV="1">
                <a:off x="1222147" y="4352583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corr patern">
              <a:extLst>
                <a:ext uri="{FF2B5EF4-FFF2-40B4-BE49-F238E27FC236}">
                  <a16:creationId xmlns:a16="http://schemas.microsoft.com/office/drawing/2014/main" id="{53CEC2E7-824A-4ADD-B9EB-A4A7898E6629}"/>
                </a:ext>
              </a:extLst>
            </p:cNvPr>
            <p:cNvGrpSpPr/>
            <p:nvPr/>
          </p:nvGrpSpPr>
          <p:grpSpPr>
            <a:xfrm>
              <a:off x="3635968" y="2078265"/>
              <a:ext cx="4186166" cy="549732"/>
              <a:chOff x="3505490" y="1970778"/>
              <a:chExt cx="4186166" cy="549732"/>
            </a:xfrm>
          </p:grpSpPr>
          <p:sp>
            <p:nvSpPr>
              <p:cNvPr id="97" name="Right Brace 96">
                <a:extLst>
                  <a:ext uri="{FF2B5EF4-FFF2-40B4-BE49-F238E27FC236}">
                    <a16:creationId xmlns:a16="http://schemas.microsoft.com/office/drawing/2014/main" id="{EC1AC233-F466-4168-8FD7-FE2C34605B31}"/>
                  </a:ext>
                </a:extLst>
              </p:cNvPr>
              <p:cNvSpPr/>
              <p:nvPr/>
            </p:nvSpPr>
            <p:spPr>
              <a:xfrm rot="16200000">
                <a:off x="5190883" y="579402"/>
                <a:ext cx="255715" cy="3626502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98" name="TextBox 191">
                <a:extLst>
                  <a:ext uri="{FF2B5EF4-FFF2-40B4-BE49-F238E27FC236}">
                    <a16:creationId xmlns:a16="http://schemas.microsoft.com/office/drawing/2014/main" id="{D1C820C2-F04F-4F6C-87D0-7D3AB4714E87}"/>
                  </a:ext>
                </a:extLst>
              </p:cNvPr>
              <p:cNvSpPr txBox="1"/>
              <p:nvPr/>
            </p:nvSpPr>
            <p:spPr>
              <a:xfrm>
                <a:off x="5583989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TextBox 191">
                  <a:extLst>
                    <a:ext uri="{FF2B5EF4-FFF2-40B4-BE49-F238E27FC236}">
                      <a16:creationId xmlns:a16="http://schemas.microsoft.com/office/drawing/2014/main" id="{B1F179FB-53E0-4994-99DC-EBC2D1D459BC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312857" cy="27289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00000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00000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, </a:t>
                  </a: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a14:m>
                  <a:endParaRPr lang="en-US" sz="2400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96" name="TextBox 191">
                  <a:extLst>
                    <a:ext uri="{FF2B5EF4-FFF2-40B4-BE49-F238E27FC236}">
                      <a16:creationId xmlns:a16="http://schemas.microsoft.com/office/drawing/2014/main" id="{B1F179FB-53E0-4994-99DC-EBC2D1D459B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312857" cy="2728952"/>
                </a:xfrm>
                <a:prstGeom prst="rect">
                  <a:avLst/>
                </a:prstGeom>
                <a:blipFill>
                  <a:blip r:embed="rId4"/>
                  <a:stretch>
                    <a:fillRect l="-2500" t="-3579" b="-5817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3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A92988F-BB02-4F81-B1E8-3C0FE4F12ABA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𝟑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A92988F-BB02-4F81-B1E8-3C0FE4F12A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FB683E0-6881-4217-B018-802E63C0765C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1276FFDE-6D9B-45A7-AF36-E05DC43D17BD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Oval 11">
              <a:extLst>
                <a:ext uri="{FF2B5EF4-FFF2-40B4-BE49-F238E27FC236}">
                  <a16:creationId xmlns:a16="http://schemas.microsoft.com/office/drawing/2014/main" id="{7E9FB215-07E5-43D7-96BE-9E9EB632DCFB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Oval 11">
              <a:extLst>
                <a:ext uri="{FF2B5EF4-FFF2-40B4-BE49-F238E27FC236}">
                  <a16:creationId xmlns:a16="http://schemas.microsoft.com/office/drawing/2014/main" id="{B9C1AB62-F6D7-4E9C-83BE-496871677793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1C077608-5D94-4BC7-915E-66A2EF0FBBF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41" name="Oval 11">
                <a:extLst>
                  <a:ext uri="{FF2B5EF4-FFF2-40B4-BE49-F238E27FC236}">
                    <a16:creationId xmlns:a16="http://schemas.microsoft.com/office/drawing/2014/main" id="{F78DE3DF-ECFA-4B33-BAB8-BB839D1088F9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TextBox 25">
                <a:extLst>
                  <a:ext uri="{FF2B5EF4-FFF2-40B4-BE49-F238E27FC236}">
                    <a16:creationId xmlns:a16="http://schemas.microsoft.com/office/drawing/2014/main" id="{9BF55DE3-4E3A-4B88-8EC3-493D3358CB81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43" name="Straight Connector 35">
                <a:extLst>
                  <a:ext uri="{FF2B5EF4-FFF2-40B4-BE49-F238E27FC236}">
                    <a16:creationId xmlns:a16="http://schemas.microsoft.com/office/drawing/2014/main" id="{E49891E8-D19E-41AF-9FE0-571EBBC6E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546D9BEA-58E7-4CD9-B6F3-07A08A962284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47" name="Oval 146">
                  <a:extLst>
                    <a:ext uri="{FF2B5EF4-FFF2-40B4-BE49-F238E27FC236}">
                      <a16:creationId xmlns:a16="http://schemas.microsoft.com/office/drawing/2014/main" id="{EE89FB73-DAFA-4EA0-89EC-3A34335E97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48" name="Oval 147">
                  <a:extLst>
                    <a:ext uri="{FF2B5EF4-FFF2-40B4-BE49-F238E27FC236}">
                      <a16:creationId xmlns:a16="http://schemas.microsoft.com/office/drawing/2014/main" id="{1552DC63-EF4F-4594-8D53-39EFEA1ECDA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75D2E357-1318-4DF7-9E55-17832A2EFD06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45" name="TextBox 25">
                <a:extLst>
                  <a:ext uri="{FF2B5EF4-FFF2-40B4-BE49-F238E27FC236}">
                    <a16:creationId xmlns:a16="http://schemas.microsoft.com/office/drawing/2014/main" id="{2F745AD5-9D50-45FB-B213-5345F9040DAF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D7BF42AF-F043-4289-A627-D7F0383B605E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66265B7B-A55C-48F9-ABAD-B11B2CD73CCF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31" name="Oval 11">
                <a:extLst>
                  <a:ext uri="{FF2B5EF4-FFF2-40B4-BE49-F238E27FC236}">
                    <a16:creationId xmlns:a16="http://schemas.microsoft.com/office/drawing/2014/main" id="{9B090842-DA70-4E8E-8D30-A0A4CF3C88D9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TextBox 25">
                <a:extLst>
                  <a:ext uri="{FF2B5EF4-FFF2-40B4-BE49-F238E27FC236}">
                    <a16:creationId xmlns:a16="http://schemas.microsoft.com/office/drawing/2014/main" id="{A09599A2-1DE1-424B-A0F2-259B5F5E4099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33" name="Straight Connector 35">
                <a:extLst>
                  <a:ext uri="{FF2B5EF4-FFF2-40B4-BE49-F238E27FC236}">
                    <a16:creationId xmlns:a16="http://schemas.microsoft.com/office/drawing/2014/main" id="{0F275E84-5929-46B5-9F5D-AB5B6AD949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7E5BDBDD-6714-4EFB-AC9D-90DD94FCA1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0AB0C504-FE3E-4D98-8810-BC79E6A8A31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6AF5EF30-9A51-4A9F-849A-F940D11D4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8176BDD9-3D85-4E51-84DA-F9F74F34BDF6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3B56799-208B-47D4-95E2-86DEA7A0822C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9" name="TextBox 25">
                <a:extLst>
                  <a:ext uri="{FF2B5EF4-FFF2-40B4-BE49-F238E27FC236}">
                    <a16:creationId xmlns:a16="http://schemas.microsoft.com/office/drawing/2014/main" id="{EF7151F8-477D-496F-BAFD-3A52FD9AF75F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9B199499-D448-4C6B-AF89-1B94584541F7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000EFE5-4AF1-4A40-A15B-70BCCACB0CA7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B841CAE6-FE64-49EE-8CAA-F65446A841D7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AEAD6919-D3F9-43D7-B795-68AA0A0887E6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3F32073E-560A-4989-B9F3-6C19F8B236A7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0907805-AB0F-473A-9835-016B3FB9A1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10FFF124-E9F5-4589-A5D0-AA084103A357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91802551-3304-42D5-B05D-D8102E55E34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ACAF62DF-CEBA-4649-8D62-7E4E0FEB1F9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76D03174-E315-495F-A3C3-7000F4049F9D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91650FB5-5CA6-40D2-A5FA-8838A3446A6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3CCEAC8D-4348-420B-8120-8A502616A81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571E10E-39B0-4C88-A691-A58D56A6F0F9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14894CA3-5C4C-40AD-AF51-B4FBC52F40C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9AECCB03-B39B-49E9-8004-65AF50137061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17" name="TextBox 25">
                <a:extLst>
                  <a:ext uri="{FF2B5EF4-FFF2-40B4-BE49-F238E27FC236}">
                    <a16:creationId xmlns:a16="http://schemas.microsoft.com/office/drawing/2014/main" id="{FEB257D9-C4D9-4953-B7D7-389202CCAF9F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97D33C91-E1A2-445C-A9BB-932F93467A93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10418F9-ED87-4DFD-91F9-9047EF48840A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10418F9-ED87-4DFD-91F9-9047EF488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7" name="Group 10">
            <a:extLst>
              <a:ext uri="{FF2B5EF4-FFF2-40B4-BE49-F238E27FC236}">
                <a16:creationId xmlns:a16="http://schemas.microsoft.com/office/drawing/2014/main" id="{37CC884C-D381-4B62-8B59-D848A5EEF1CB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158" name="Freeform 5">
              <a:extLst>
                <a:ext uri="{FF2B5EF4-FFF2-40B4-BE49-F238E27FC236}">
                  <a16:creationId xmlns:a16="http://schemas.microsoft.com/office/drawing/2014/main" id="{51B73F42-9287-4888-8E45-27441AC62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">
              <a:extLst>
                <a:ext uri="{FF2B5EF4-FFF2-40B4-BE49-F238E27FC236}">
                  <a16:creationId xmlns:a16="http://schemas.microsoft.com/office/drawing/2014/main" id="{9365997F-78CE-471D-AC38-731F725CA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87595826-8C24-43D4-853C-E85B65FCE4C2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161" name="TextBox 191">
              <a:extLst>
                <a:ext uri="{FF2B5EF4-FFF2-40B4-BE49-F238E27FC236}">
                  <a16:creationId xmlns:a16="http://schemas.microsoft.com/office/drawing/2014/main" id="{2423F535-E89E-4193-99BC-A493AF6DCCA7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62" name="Picture 161" descr="Icon&#10;&#10;Description automatically generated">
              <a:extLst>
                <a:ext uri="{FF2B5EF4-FFF2-40B4-BE49-F238E27FC236}">
                  <a16:creationId xmlns:a16="http://schemas.microsoft.com/office/drawing/2014/main" id="{9A0613F5-80DD-4640-8DBC-EF331AE1D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sp>
        <p:nvSpPr>
          <p:cNvPr id="163" name="Cloud 162">
            <a:extLst>
              <a:ext uri="{FF2B5EF4-FFF2-40B4-BE49-F238E27FC236}">
                <a16:creationId xmlns:a16="http://schemas.microsoft.com/office/drawing/2014/main" id="{C991B74D-2A84-4D80-BE1C-1B52C32EDC53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0B8CFC1F-8598-44B3-A56A-DD00C2F89B15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0B8CFC1F-8598-44B3-A56A-DD00C2F89B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8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C18320E-5DD3-4D08-88B5-35ED628B7C20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𝑣𝑒𝑐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C18320E-5DD3-4D08-88B5-35ED628B7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9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CED925-7E64-47F8-B9D5-4A2D47187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6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7043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2.96296E-6 L -0.1108 0.08171 " pathEditMode="relative" rAng="0" ptsTypes="AA">
                                      <p:cBhvr>
                                        <p:cTn id="6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547" y="40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00"/>
                            </p:stCondLst>
                            <p:childTnLst>
                              <p:par>
                                <p:cTn id="8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08 0.08171 L -0.0556 0.08171 " pathEditMode="relative" rAng="0" ptsTypes="AA">
                                      <p:cBhvr>
                                        <p:cTn id="9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400"/>
                            </p:stCondLst>
                            <p:childTnLst>
                              <p:par>
                                <p:cTn id="11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56 0.08171 L 0.00013 0.08078 " pathEditMode="relative" rAng="0" ptsTypes="AA">
                                      <p:cBhvr>
                                        <p:cTn id="12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100"/>
                            </p:stCondLst>
                            <p:childTnLst>
                              <p:par>
                                <p:cTn id="14" presetID="42" presetClass="path" presetSubtype="0" accel="50000" decel="5000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8078 L -0.1108 0.08171 " pathEditMode="relative" rAng="0" ptsTypes="AA">
                                      <p:cBhvr>
                                        <p:cTn id="15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521" y="4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2.96296E-6 L 0.05559 1.48148E-6 " pathEditMode="relative" rAng="0" ptsTypes="AA">
                                      <p:cBhvr>
                                        <p:cTn id="17" dur="7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800"/>
                            </p:stCondLst>
                            <p:childTnLst>
                              <p:par>
                                <p:cTn id="19" presetID="42" presetClass="path" presetSubtype="0" accel="50000" decel="5000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08 0.08171 L -0.0556 0.08171 " pathEditMode="relative" rAng="0" ptsTypes="AA">
                                      <p:cBhvr>
                                        <p:cTn id="20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42" presetClass="path" presetSubtype="0" accel="50000" decel="5000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56 0.08171 L 0.00013 0.08079 " pathEditMode="relative" rAng="0" ptsTypes="AA">
                                      <p:cBhvr>
                                        <p:cTn id="23" dur="7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6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" grpId="0" animBg="1"/>
      <p:bldP spid="236" grpId="0" animBg="1"/>
      <p:bldP spid="236" grpId="1" animBg="1"/>
      <p:bldP spid="236" grpId="2" animBg="1"/>
      <p:bldP spid="236" grpId="3" animBg="1"/>
      <p:bldP spid="236" grpId="4" animBg="1"/>
      <p:bldP spid="236" grpId="5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540A0F4-3647-464E-9476-EC161C3F20C2}"/>
              </a:ext>
            </a:extLst>
          </p:cNvPr>
          <p:cNvGrpSpPr/>
          <p:nvPr/>
        </p:nvGrpSpPr>
        <p:grpSpPr>
          <a:xfrm>
            <a:off x="574703" y="3190319"/>
            <a:ext cx="7745047" cy="3108853"/>
            <a:chOff x="1247004" y="2054367"/>
            <a:chExt cx="7745047" cy="3108853"/>
          </a:xfrm>
        </p:grpSpPr>
        <p:grpSp>
          <p:nvGrpSpPr>
            <p:cNvPr id="141" name="multipearson">
              <a:extLst>
                <a:ext uri="{FF2B5EF4-FFF2-40B4-BE49-F238E27FC236}">
                  <a16:creationId xmlns:a16="http://schemas.microsoft.com/office/drawing/2014/main" id="{43C9B5D9-548A-432C-BC6A-7B5F5A3EE5C9}"/>
                </a:ext>
              </a:extLst>
            </p:cNvPr>
            <p:cNvGrpSpPr/>
            <p:nvPr/>
          </p:nvGrpSpPr>
          <p:grpSpPr>
            <a:xfrm>
              <a:off x="1547014" y="2502480"/>
              <a:ext cx="6561524" cy="867994"/>
              <a:chOff x="1082434" y="3622115"/>
              <a:chExt cx="6561524" cy="867994"/>
            </a:xfrm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EE326169-59F3-4364-84A8-47E6559BC2B0}"/>
                  </a:ext>
                </a:extLst>
              </p:cNvPr>
              <p:cNvSpPr/>
              <p:nvPr/>
            </p:nvSpPr>
            <p:spPr>
              <a:xfrm>
                <a:off x="1082434" y="3622115"/>
                <a:ext cx="6561524" cy="480291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5" name="TextBox 191">
                <a:extLst>
                  <a:ext uri="{FF2B5EF4-FFF2-40B4-BE49-F238E27FC236}">
                    <a16:creationId xmlns:a16="http://schemas.microsoft.com/office/drawing/2014/main" id="{6AF36F21-6021-4420-9A78-59D2E9010489}"/>
                  </a:ext>
                </a:extLst>
              </p:cNvPr>
              <p:cNvSpPr txBox="1"/>
              <p:nvPr/>
            </p:nvSpPr>
            <p:spPr>
              <a:xfrm>
                <a:off x="1224180" y="4213110"/>
                <a:ext cx="146590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. measure</a:t>
                </a:r>
              </a:p>
            </p:txBody>
          </p: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74C34948-E733-4FCE-A89E-8E3AADE943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25114" y="4005314"/>
                <a:ext cx="0" cy="237752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avg">
              <a:extLst>
                <a:ext uri="{FF2B5EF4-FFF2-40B4-BE49-F238E27FC236}">
                  <a16:creationId xmlns:a16="http://schemas.microsoft.com/office/drawing/2014/main" id="{B816FFF7-4510-438C-89FD-BBA4146148E2}"/>
                </a:ext>
              </a:extLst>
            </p:cNvPr>
            <p:cNvGrpSpPr/>
            <p:nvPr/>
          </p:nvGrpSpPr>
          <p:grpSpPr>
            <a:xfrm>
              <a:off x="3154668" y="2564426"/>
              <a:ext cx="4953869" cy="809689"/>
              <a:chOff x="4317661" y="2395663"/>
              <a:chExt cx="4953869" cy="809689"/>
            </a:xfrm>
          </p:grpSpPr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B8E38BE1-561F-4131-9BCF-CA2C15E42CF8}"/>
                  </a:ext>
                </a:extLst>
              </p:cNvPr>
              <p:cNvSpPr/>
              <p:nvPr/>
            </p:nvSpPr>
            <p:spPr>
              <a:xfrm>
                <a:off x="4317661" y="2395663"/>
                <a:ext cx="4953869" cy="321253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52" name="TextBox 191">
                <a:extLst>
                  <a:ext uri="{FF2B5EF4-FFF2-40B4-BE49-F238E27FC236}">
                    <a16:creationId xmlns:a16="http://schemas.microsoft.com/office/drawing/2014/main" id="{3274A623-A883-4989-9076-A4FD654C5065}"/>
                  </a:ext>
                </a:extLst>
              </p:cNvPr>
              <p:cNvSpPr txBox="1"/>
              <p:nvPr/>
            </p:nvSpPr>
            <p:spPr>
              <a:xfrm>
                <a:off x="5816914" y="2928353"/>
                <a:ext cx="203705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Aggregation function</a:t>
                </a:r>
              </a:p>
            </p:txBody>
          </p:sp>
          <p:cxnSp>
            <p:nvCxnSpPr>
              <p:cNvPr id="153" name="Connector: Elbow 152">
                <a:extLst>
                  <a:ext uri="{FF2B5EF4-FFF2-40B4-BE49-F238E27FC236}">
                    <a16:creationId xmlns:a16="http://schemas.microsoft.com/office/drawing/2014/main" id="{16194913-D62F-4190-ACB9-D1C268EC7EA2}"/>
                  </a:ext>
                </a:extLst>
              </p:cNvPr>
              <p:cNvCxnSpPr>
                <a:cxnSpLocks/>
                <a:endCxn id="152" idx="1"/>
              </p:cNvCxnSpPr>
              <p:nvPr/>
            </p:nvCxnSpPr>
            <p:spPr>
              <a:xfrm>
                <a:off x="4534106" y="2733934"/>
                <a:ext cx="1282808" cy="332919"/>
              </a:xfrm>
              <a:prstGeom prst="bentConnector3">
                <a:avLst>
                  <a:gd name="adj1" fmla="val 864"/>
                </a:avLst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th query">
              <a:extLst>
                <a:ext uri="{FF2B5EF4-FFF2-40B4-BE49-F238E27FC236}">
                  <a16:creationId xmlns:a16="http://schemas.microsoft.com/office/drawing/2014/main" id="{8DA74E1A-4C19-4983-8C3B-D4DDDD851E60}"/>
                </a:ext>
              </a:extLst>
            </p:cNvPr>
            <p:cNvGrpSpPr/>
            <p:nvPr/>
          </p:nvGrpSpPr>
          <p:grpSpPr>
            <a:xfrm>
              <a:off x="2133904" y="4752137"/>
              <a:ext cx="3289725" cy="411083"/>
              <a:chOff x="86042" y="4503535"/>
              <a:chExt cx="3289725" cy="411083"/>
            </a:xfrm>
          </p:grpSpPr>
          <p:sp>
            <p:nvSpPr>
              <p:cNvPr id="148" name="Rectangle: Rounded Corners 147">
                <a:extLst>
                  <a:ext uri="{FF2B5EF4-FFF2-40B4-BE49-F238E27FC236}">
                    <a16:creationId xmlns:a16="http://schemas.microsoft.com/office/drawing/2014/main" id="{FE2BC8BA-DB2C-4200-83DE-970372058C80}"/>
                  </a:ext>
                </a:extLst>
              </p:cNvPr>
              <p:cNvSpPr/>
              <p:nvPr/>
            </p:nvSpPr>
            <p:spPr>
              <a:xfrm>
                <a:off x="86042" y="4503535"/>
                <a:ext cx="1136105" cy="411083"/>
              </a:xfrm>
              <a:prstGeom prst="roundRect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9" name="TextBox 191">
                <a:extLst>
                  <a:ext uri="{FF2B5EF4-FFF2-40B4-BE49-F238E27FC236}">
                    <a16:creationId xmlns:a16="http://schemas.microsoft.com/office/drawing/2014/main" id="{8AFF725A-575C-4F9D-91D3-575EDB622E16}"/>
                  </a:ext>
                </a:extLst>
              </p:cNvPr>
              <p:cNvSpPr txBox="1"/>
              <p:nvPr/>
            </p:nvSpPr>
            <p:spPr>
              <a:xfrm>
                <a:off x="1588104" y="4568517"/>
                <a:ext cx="178766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Query type</a:t>
                </a: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6B826DD5-C03C-4233-9CE5-84D74897A96E}"/>
                  </a:ext>
                </a:extLst>
              </p:cNvPr>
              <p:cNvCxnSpPr>
                <a:cxnSpLocks/>
                <a:stCxn id="148" idx="3"/>
                <a:endCxn id="149" idx="1"/>
              </p:cNvCxnSpPr>
              <p:nvPr/>
            </p:nvCxnSpPr>
            <p:spPr>
              <a:xfrm flipV="1">
                <a:off x="1222147" y="4707017"/>
                <a:ext cx="365957" cy="2060"/>
              </a:xfrm>
              <a:prstGeom prst="line">
                <a:avLst/>
              </a:prstGeom>
              <a:ln w="22225">
                <a:solidFill>
                  <a:srgbClr val="7F7F7F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5" name="corr patern">
              <a:extLst>
                <a:ext uri="{FF2B5EF4-FFF2-40B4-BE49-F238E27FC236}">
                  <a16:creationId xmlns:a16="http://schemas.microsoft.com/office/drawing/2014/main" id="{AE493C61-8A5B-4709-AED2-7AAC714BC057}"/>
                </a:ext>
              </a:extLst>
            </p:cNvPr>
            <p:cNvGrpSpPr/>
            <p:nvPr/>
          </p:nvGrpSpPr>
          <p:grpSpPr>
            <a:xfrm>
              <a:off x="3528436" y="2078265"/>
              <a:ext cx="4580102" cy="531012"/>
              <a:chOff x="3397958" y="1970778"/>
              <a:chExt cx="4580102" cy="531012"/>
            </a:xfrm>
          </p:grpSpPr>
          <p:sp>
            <p:nvSpPr>
              <p:cNvPr id="146" name="Right Brace 145">
                <a:extLst>
                  <a:ext uri="{FF2B5EF4-FFF2-40B4-BE49-F238E27FC236}">
                    <a16:creationId xmlns:a16="http://schemas.microsoft.com/office/drawing/2014/main" id="{592042D1-AB84-47D0-B74F-2E5C4BA56BFB}"/>
                  </a:ext>
                </a:extLst>
              </p:cNvPr>
              <p:cNvSpPr/>
              <p:nvPr/>
            </p:nvSpPr>
            <p:spPr>
              <a:xfrm rot="16200000">
                <a:off x="5578263" y="144421"/>
                <a:ext cx="177064" cy="4537674"/>
              </a:xfrm>
              <a:prstGeom prst="rightBrace">
                <a:avLst>
                  <a:gd name="adj1" fmla="val 8333"/>
                  <a:gd name="adj2" fmla="val 70087"/>
                </a:avLst>
              </a:prstGeom>
              <a:ln w="22225">
                <a:solidFill>
                  <a:srgbClr val="7F7F7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47" name="TextBox 191">
                <a:extLst>
                  <a:ext uri="{FF2B5EF4-FFF2-40B4-BE49-F238E27FC236}">
                    <a16:creationId xmlns:a16="http://schemas.microsoft.com/office/drawing/2014/main" id="{3968AB8B-1C90-4E10-92ED-1D4E95D7ACB9}"/>
                  </a:ext>
                </a:extLst>
              </p:cNvPr>
              <p:cNvSpPr txBox="1"/>
              <p:nvPr/>
            </p:nvSpPr>
            <p:spPr>
              <a:xfrm>
                <a:off x="5870393" y="1970778"/>
                <a:ext cx="210766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i="1" dirty="0">
                    <a:solidFill>
                      <a:srgbClr val="A6A6A6"/>
                    </a:solidFill>
                  </a:rPr>
                  <a:t>Correlation pattern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/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SELECT</a:t>
                  </a:r>
                  <a14:m>
                    <m:oMath xmlns:m="http://schemas.openxmlformats.org/officeDocument/2006/math">
                      <m:r>
                        <a:rPr lang="en-US" sz="2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m:rPr>
                          <m:nor/>
                        </m:rPr>
                        <a:rPr lang="en-US" sz="2400" b="0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𝑒𝑐</m:t>
                      </m:r>
                    </m:oMath>
                  </a14:m>
                  <a:endParaRPr lang="en-US" sz="2400" b="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  <m:r>
                          <a:rPr lang="en-US" sz="24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𝑒𝑎𝑟𝑠𝑜𝑛</m:t>
                        </m:r>
                        <m:d>
                          <m:dPr>
                            <m:ctrlP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d>
                              <m:dPr>
                                <m:ctrlP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sz="2400" i="1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.</m:t>
                                </m:r>
                                <m: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𝑣𝑒𝑐</m:t>
                                </m:r>
                              </m:e>
                            </m:d>
                            <m:r>
                              <a:rPr lang="en-US" sz="2400" i="1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𝑆𝑢𝑚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𝑑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.</m:t>
                            </m:r>
                            <m: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𝑣𝑒𝑐</m:t>
                            </m:r>
                          </m:e>
                        </m:d>
                        <m:r>
                          <a:rPr lang="en-US" sz="24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FROM </a:t>
                  </a:r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rgbClr val="C81919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a14:m>
                  <a:r>
                    <a:rPr lang="en-US" sz="2400" dirty="0">
                      <a:solidFill>
                        <a:srgbClr val="C81919"/>
                      </a:solidFill>
                      <a:latin typeface="Cambria Math" panose="02040503050406030204" pitchFamily="18" charset="0"/>
                    </a:rPr>
                    <a:t>, </a:t>
                  </a:r>
                  <a:b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</a:br>
                  <a:r>
                    <a:rPr lang="en-US" sz="2400" dirty="0">
                      <a:solidFill>
                        <a:schemeClr val="accent2"/>
                      </a:solidFill>
                      <a:latin typeface="Cambria Math" panose="02040503050406030204" pitchFamily="18" charset="0"/>
                    </a:rPr>
                    <a:t>vectors AS </a:t>
                  </a:r>
                  <a14:m>
                    <m:oMath xmlns:m="http://schemas.openxmlformats.org/officeDocument/2006/math"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𝑣𝑒𝑐𝑡𝑜𝑟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𝐴𝑆</m:t>
                      </m:r>
                      <m:r>
                        <a:rPr lang="en-US" sz="2400" b="0" i="0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dirty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</m:oMath>
                  </a14:m>
                  <a:endParaRPr lang="en-US" sz="2400" i="1" dirty="0">
                    <a:solidFill>
                      <a:schemeClr val="accent2"/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WHERE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i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≠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𝑖𝑑</m:t>
                      </m:r>
                    </m:oMath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800"/>
                    </a:spcAft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mbria Math" panose="02040503050406030204" pitchFamily="18" charset="0"/>
                    </a:rPr>
                    <a:t>AND     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en-US" sz="2400" b="0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sz="2400" b="0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𝜏</m:t>
                      </m:r>
                    </m:oMath>
                  </a14:m>
                  <a:endParaRPr lang="en-US" sz="2400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144" name="TextBox 191">
                  <a:extLst>
                    <a:ext uri="{FF2B5EF4-FFF2-40B4-BE49-F238E27FC236}">
                      <a16:creationId xmlns:a16="http://schemas.microsoft.com/office/drawing/2014/main" id="{2D718DEC-FF79-4C79-A6F2-F095DB051E0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7004" y="2054367"/>
                  <a:ext cx="7745047" cy="3098284"/>
                </a:xfrm>
                <a:prstGeom prst="rect">
                  <a:avLst/>
                </a:prstGeom>
                <a:blipFill>
                  <a:blip r:embed="rId4"/>
                  <a:stretch>
                    <a:fillRect l="-2360" t="-2947" b="-4912"/>
                  </a:stretch>
                </a:blipFill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6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7D091F4-45CC-4081-A217-09E6D4ED0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/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sz="1400" dirty="0"/>
                  <a:t> is short-hand for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𝑝𝑒𝑎𝑟𝑠𝑜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𝑆𝑢𝑚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𝑣𝑒𝑐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NL" sz="1400" dirty="0"/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47D84D52-F4D2-4BD6-BA0A-2BAACD6FA0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236" y="6484074"/>
                <a:ext cx="7379855" cy="307777"/>
              </a:xfrm>
              <a:prstGeom prst="rect">
                <a:avLst/>
              </a:prstGeom>
              <a:blipFill>
                <a:blip r:embed="rId9"/>
                <a:stretch>
                  <a:fillRect t="-4000" b="-20000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58083B-5EF9-4A2B-BF54-E91606802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7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1315453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>
            <a:extLst>
              <a:ext uri="{FF2B5EF4-FFF2-40B4-BE49-F238E27FC236}">
                <a16:creationId xmlns:a16="http://schemas.microsoft.com/office/drawing/2014/main" id="{7E1E6B44-EAB0-4EA3-9C55-E88B53C61A40}"/>
              </a:ext>
            </a:extLst>
          </p:cNvPr>
          <p:cNvGrpSpPr/>
          <p:nvPr/>
        </p:nvGrpSpPr>
        <p:grpSpPr>
          <a:xfrm>
            <a:off x="9160659" y="1202744"/>
            <a:ext cx="2326415" cy="2990851"/>
            <a:chOff x="9160659" y="1202744"/>
            <a:chExt cx="2326415" cy="2990851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D6E37E07-D67A-4821-983B-4B02862D077C}"/>
                </a:ext>
              </a:extLst>
            </p:cNvPr>
            <p:cNvSpPr/>
            <p:nvPr/>
          </p:nvSpPr>
          <p:spPr>
            <a:xfrm>
              <a:off x="9160659" y="1202744"/>
              <a:ext cx="2326415" cy="299085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>
                <a:solidFill>
                  <a:srgbClr val="40404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A4D47DA-BC33-4963-BD66-5A698CE61610}"/>
                </a:ext>
              </a:extLst>
            </p:cNvPr>
            <p:cNvSpPr/>
            <p:nvPr/>
          </p:nvSpPr>
          <p:spPr>
            <a:xfrm>
              <a:off x="9229876" y="1277305"/>
              <a:ext cx="2194044" cy="282067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endParaRPr lang="en-NL" b="1" dirty="0">
                <a:solidFill>
                  <a:srgbClr val="404040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C79EC15-82FD-4C4D-A1E6-1920D8E0827B}"/>
                </a:ext>
              </a:extLst>
            </p:cNvPr>
            <p:cNvCxnSpPr>
              <a:cxnSpLocks/>
            </p:cNvCxnSpPr>
            <p:nvPr/>
          </p:nvCxnSpPr>
          <p:spPr>
            <a:xfrm>
              <a:off x="9390324" y="2233005"/>
              <a:ext cx="1878136" cy="0"/>
            </a:xfrm>
            <a:prstGeom prst="line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5" name="TextBox 191">
            <a:extLst>
              <a:ext uri="{FF2B5EF4-FFF2-40B4-BE49-F238E27FC236}">
                <a16:creationId xmlns:a16="http://schemas.microsoft.com/office/drawing/2014/main" id="{9C82849A-A51D-4479-8066-403B0D5CDCE6}"/>
              </a:ext>
            </a:extLst>
          </p:cNvPr>
          <p:cNvSpPr txBox="1"/>
          <p:nvPr/>
        </p:nvSpPr>
        <p:spPr>
          <a:xfrm>
            <a:off x="9576346" y="1374271"/>
            <a:ext cx="17677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Group size = 4</a:t>
            </a: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8" name="Group 10">
            <a:extLst>
              <a:ext uri="{FF2B5EF4-FFF2-40B4-BE49-F238E27FC236}">
                <a16:creationId xmlns:a16="http://schemas.microsoft.com/office/drawing/2014/main" id="{0B84D8DF-D7E1-41CC-B024-AA4F23D481D2}"/>
              </a:ext>
            </a:extLst>
          </p:cNvPr>
          <p:cNvGrpSpPr/>
          <p:nvPr/>
        </p:nvGrpSpPr>
        <p:grpSpPr>
          <a:xfrm>
            <a:off x="517988" y="2038727"/>
            <a:ext cx="811103" cy="801212"/>
            <a:chOff x="4279221" y="2033354"/>
            <a:chExt cx="1412875" cy="1395646"/>
          </a:xfrm>
        </p:grpSpPr>
        <p:sp>
          <p:nvSpPr>
            <p:cNvPr id="939" name="Freeform 5">
              <a:extLst>
                <a:ext uri="{FF2B5EF4-FFF2-40B4-BE49-F238E27FC236}">
                  <a16:creationId xmlns:a16="http://schemas.microsoft.com/office/drawing/2014/main" id="{89E23DA5-EA5C-4D74-88DD-BE95AEB2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0" name="Freeform 6">
              <a:extLst>
                <a:ext uri="{FF2B5EF4-FFF2-40B4-BE49-F238E27FC236}">
                  <a16:creationId xmlns:a16="http://schemas.microsoft.com/office/drawing/2014/main" id="{955B0DC4-3035-4355-806C-F147BE01B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023C7CD-BAD9-4C25-AC11-D01E0751F440}"/>
              </a:ext>
            </a:extLst>
          </p:cNvPr>
          <p:cNvGrpSpPr/>
          <p:nvPr/>
        </p:nvGrpSpPr>
        <p:grpSpPr>
          <a:xfrm>
            <a:off x="760965" y="2149161"/>
            <a:ext cx="4599782" cy="615553"/>
            <a:chOff x="1214554" y="2149161"/>
            <a:chExt cx="4599782" cy="615553"/>
          </a:xfrm>
        </p:grpSpPr>
        <p:sp>
          <p:nvSpPr>
            <p:cNvPr id="936" name="TextBox 191">
              <a:extLst>
                <a:ext uri="{FF2B5EF4-FFF2-40B4-BE49-F238E27FC236}">
                  <a16:creationId xmlns:a16="http://schemas.microsoft.com/office/drawing/2014/main" id="{4474CF67-2F7B-466E-85C0-F63F0F62696B}"/>
                </a:ext>
              </a:extLst>
            </p:cNvPr>
            <p:cNvSpPr txBox="1"/>
            <p:nvPr/>
          </p:nvSpPr>
          <p:spPr>
            <a:xfrm>
              <a:off x="1987829" y="2149161"/>
              <a:ext cx="382650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amental challenge: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#combination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88" name="Picture 87" descr="Icon&#10;&#10;Description automatically generated">
              <a:extLst>
                <a:ext uri="{FF2B5EF4-FFF2-40B4-BE49-F238E27FC236}">
                  <a16:creationId xmlns:a16="http://schemas.microsoft.com/office/drawing/2014/main" id="{11F46ACA-6077-447B-B474-EA8571099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4554" y="2244629"/>
              <a:ext cx="385188" cy="38518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56AFF79-F3F5-4513-88CD-B61F14493BAF}"/>
              </a:ext>
            </a:extLst>
          </p:cNvPr>
          <p:cNvGrpSpPr/>
          <p:nvPr/>
        </p:nvGrpSpPr>
        <p:grpSpPr>
          <a:xfrm>
            <a:off x="9501343" y="2552994"/>
            <a:ext cx="1651388" cy="1365901"/>
            <a:chOff x="8365328" y="3230758"/>
            <a:chExt cx="1651388" cy="1365901"/>
          </a:xfrm>
        </p:grpSpPr>
        <p:sp>
          <p:nvSpPr>
            <p:cNvPr id="227" name="Oval 11">
              <a:extLst>
                <a:ext uri="{FF2B5EF4-FFF2-40B4-BE49-F238E27FC236}">
                  <a16:creationId xmlns:a16="http://schemas.microsoft.com/office/drawing/2014/main" id="{702F8281-F629-4431-B43B-428235A1E1B2}"/>
                </a:ext>
              </a:extLst>
            </p:cNvPr>
            <p:cNvSpPr/>
            <p:nvPr/>
          </p:nvSpPr>
          <p:spPr>
            <a:xfrm>
              <a:off x="9041603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11">
              <a:extLst>
                <a:ext uri="{FF2B5EF4-FFF2-40B4-BE49-F238E27FC236}">
                  <a16:creationId xmlns:a16="http://schemas.microsoft.com/office/drawing/2014/main" id="{E1B4EFD4-9A16-44F6-80D7-C4C44C678904}"/>
                </a:ext>
              </a:extLst>
            </p:cNvPr>
            <p:cNvSpPr/>
            <p:nvPr/>
          </p:nvSpPr>
          <p:spPr>
            <a:xfrm>
              <a:off x="836532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11">
              <a:extLst>
                <a:ext uri="{FF2B5EF4-FFF2-40B4-BE49-F238E27FC236}">
                  <a16:creationId xmlns:a16="http://schemas.microsoft.com/office/drawing/2014/main" id="{4648662D-EC5C-480D-BE99-DCDAFCC5BD55}"/>
                </a:ext>
              </a:extLst>
            </p:cNvPr>
            <p:cNvSpPr/>
            <p:nvPr/>
          </p:nvSpPr>
          <p:spPr>
            <a:xfrm>
              <a:off x="9041603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11">
              <a:extLst>
                <a:ext uri="{FF2B5EF4-FFF2-40B4-BE49-F238E27FC236}">
                  <a16:creationId xmlns:a16="http://schemas.microsoft.com/office/drawing/2014/main" id="{AEB0BEBD-6FBA-481B-BC55-B11DE40D5378}"/>
                </a:ext>
              </a:extLst>
            </p:cNvPr>
            <p:cNvSpPr/>
            <p:nvPr/>
          </p:nvSpPr>
          <p:spPr>
            <a:xfrm>
              <a:off x="9717878" y="3230758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11">
              <a:extLst>
                <a:ext uri="{FF2B5EF4-FFF2-40B4-BE49-F238E27FC236}">
                  <a16:creationId xmlns:a16="http://schemas.microsoft.com/office/drawing/2014/main" id="{7FC3C7D9-C4F4-4F6F-A385-5E6F65D559C3}"/>
                </a:ext>
              </a:extLst>
            </p:cNvPr>
            <p:cNvSpPr/>
            <p:nvPr/>
          </p:nvSpPr>
          <p:spPr>
            <a:xfrm>
              <a:off x="836532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11">
              <a:extLst>
                <a:ext uri="{FF2B5EF4-FFF2-40B4-BE49-F238E27FC236}">
                  <a16:creationId xmlns:a16="http://schemas.microsoft.com/office/drawing/2014/main" id="{FD6F8BCD-8AD6-4AE2-9E22-01CF526293E0}"/>
                </a:ext>
              </a:extLst>
            </p:cNvPr>
            <p:cNvSpPr/>
            <p:nvPr/>
          </p:nvSpPr>
          <p:spPr>
            <a:xfrm>
              <a:off x="9717878" y="3784756"/>
              <a:ext cx="298838" cy="29883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54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TextBox 192">
              <a:extLst>
                <a:ext uri="{FF2B5EF4-FFF2-40B4-BE49-F238E27FC236}">
                  <a16:creationId xmlns:a16="http://schemas.microsoft.com/office/drawing/2014/main" id="{1C4C15F2-4BF5-415F-A23C-927AE9AC121C}"/>
                </a:ext>
              </a:extLst>
            </p:cNvPr>
            <p:cNvSpPr txBox="1"/>
            <p:nvPr/>
          </p:nvSpPr>
          <p:spPr>
            <a:xfrm>
              <a:off x="9041603" y="4104216"/>
              <a:ext cx="2988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…</a:t>
              </a:r>
            </a:p>
          </p:txBody>
        </p:sp>
      </p:grpSp>
      <p:sp>
        <p:nvSpPr>
          <p:cNvPr id="222" name="Oval 221">
            <a:extLst>
              <a:ext uri="{FF2B5EF4-FFF2-40B4-BE49-F238E27FC236}">
                <a16:creationId xmlns:a16="http://schemas.microsoft.com/office/drawing/2014/main" id="{D357FDFA-7493-4806-A2E2-0D5EEF22D320}"/>
              </a:ext>
            </a:extLst>
          </p:cNvPr>
          <p:cNvSpPr/>
          <p:nvPr/>
        </p:nvSpPr>
        <p:spPr>
          <a:xfrm>
            <a:off x="9435025" y="2487746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8C370779-B4AF-447C-8661-7406051ADA6C}"/>
              </a:ext>
            </a:extLst>
          </p:cNvPr>
          <p:cNvSpPr/>
          <p:nvPr/>
        </p:nvSpPr>
        <p:spPr>
          <a:xfrm>
            <a:off x="10104207" y="2482573"/>
            <a:ext cx="431195" cy="4311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55BB8841-9B89-490B-993B-2B867A3A62A2}"/>
              </a:ext>
            </a:extLst>
          </p:cNvPr>
          <p:cNvSpPr/>
          <p:nvPr/>
        </p:nvSpPr>
        <p:spPr>
          <a:xfrm>
            <a:off x="10781512" y="2482573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6" name="Cloud 85">
            <a:extLst>
              <a:ext uri="{FF2B5EF4-FFF2-40B4-BE49-F238E27FC236}">
                <a16:creationId xmlns:a16="http://schemas.microsoft.com/office/drawing/2014/main" id="{FE416758-5967-4E7E-A010-F077C8AD50CC}"/>
              </a:ext>
            </a:extLst>
          </p:cNvPr>
          <p:cNvSpPr/>
          <p:nvPr/>
        </p:nvSpPr>
        <p:spPr>
          <a:xfrm>
            <a:off x="5247504" y="1703361"/>
            <a:ext cx="3411722" cy="1214033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/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𝐶𝑜𝑟𝑟</m:t>
                      </m:r>
                      <m:r>
                        <a:rPr lang="en-US" sz="2400" b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sz="24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2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sz="24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A91F5F4-8C5C-4D6C-9AF2-6FDA4FCA0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1124" y="2006248"/>
                <a:ext cx="3295456" cy="461665"/>
              </a:xfrm>
              <a:prstGeom prst="rect">
                <a:avLst/>
              </a:prstGeom>
              <a:blipFill>
                <a:blip r:embed="rId4"/>
                <a:stretch>
                  <a:fillRect b="-1710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160B65E-4EBD-4B60-AB3F-4D6F853D204A}"/>
              </a:ext>
            </a:extLst>
          </p:cNvPr>
          <p:cNvSpPr txBox="1"/>
          <p:nvPr/>
        </p:nvSpPr>
        <p:spPr>
          <a:xfrm>
            <a:off x="874713" y="318367"/>
            <a:ext cx="328134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ntroduc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5CCDD22-B663-4168-89BA-C1CE753AA6A0}"/>
              </a:ext>
            </a:extLst>
          </p:cNvPr>
          <p:cNvSpPr txBox="1"/>
          <p:nvPr/>
        </p:nvSpPr>
        <p:spPr>
          <a:xfrm>
            <a:off x="874713" y="1074167"/>
            <a:ext cx="33358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omputational complexity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D6816F9-A14A-4BFF-9E0E-FEE308209234}"/>
              </a:ext>
            </a:extLst>
          </p:cNvPr>
          <p:cNvSpPr/>
          <p:nvPr/>
        </p:nvSpPr>
        <p:spPr>
          <a:xfrm>
            <a:off x="9435024" y="3037618"/>
            <a:ext cx="431195" cy="43119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9452D1-540C-4FC1-ABDE-96548DF12314}"/>
              </a:ext>
            </a:extLst>
          </p:cNvPr>
          <p:cNvGrpSpPr/>
          <p:nvPr/>
        </p:nvGrpSpPr>
        <p:grpSpPr>
          <a:xfrm>
            <a:off x="8061581" y="4515318"/>
            <a:ext cx="3557898" cy="1898261"/>
            <a:chOff x="7554098" y="4515318"/>
            <a:chExt cx="3557898" cy="1898261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DC23724-6772-49AE-A956-3BA8E903E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19737" y="5112992"/>
              <a:ext cx="3426492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163B6F1E-812F-4BE9-A75E-A9BB237132D3}"/>
                </a:ext>
              </a:extLst>
            </p:cNvPr>
            <p:cNvSpPr/>
            <p:nvPr/>
          </p:nvSpPr>
          <p:spPr>
            <a:xfrm>
              <a:off x="7554098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4683401-6013-4174-ABEE-BF0F82E2E151}"/>
                </a:ext>
              </a:extLst>
            </p:cNvPr>
            <p:cNvSpPr/>
            <p:nvPr/>
          </p:nvSpPr>
          <p:spPr>
            <a:xfrm>
              <a:off x="10993152" y="5053570"/>
              <a:ext cx="118844" cy="11884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588880C-16BE-4942-ADAE-4F53299B69E7}"/>
                </a:ext>
              </a:extLst>
            </p:cNvPr>
            <p:cNvGrpSpPr/>
            <p:nvPr/>
          </p:nvGrpSpPr>
          <p:grpSpPr>
            <a:xfrm>
              <a:off x="7663266" y="4515318"/>
              <a:ext cx="1086269" cy="1898261"/>
              <a:chOff x="6872956" y="4515318"/>
              <a:chExt cx="1086269" cy="1898261"/>
            </a:xfrm>
          </p:grpSpPr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2B0392A2-3B54-43CC-B3C2-13037624301B}"/>
                  </a:ext>
                </a:extLst>
              </p:cNvPr>
              <p:cNvSpPr/>
              <p:nvPr/>
            </p:nvSpPr>
            <p:spPr>
              <a:xfrm>
                <a:off x="7037687" y="4731008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TextBox 25">
                <a:extLst>
                  <a:ext uri="{FF2B5EF4-FFF2-40B4-BE49-F238E27FC236}">
                    <a16:creationId xmlns:a16="http://schemas.microsoft.com/office/drawing/2014/main" id="{ECB743BE-AD7D-49EB-869C-ADF3FA39F0C0}"/>
                  </a:ext>
                </a:extLst>
              </p:cNvPr>
              <p:cNvSpPr txBox="1"/>
              <p:nvPr/>
            </p:nvSpPr>
            <p:spPr>
              <a:xfrm>
                <a:off x="6872956" y="5817279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K</a:t>
                </a:r>
              </a:p>
            </p:txBody>
          </p:sp>
          <p:cxnSp>
            <p:nvCxnSpPr>
              <p:cNvPr id="102" name="Straight Connector 35">
                <a:extLst>
                  <a:ext uri="{FF2B5EF4-FFF2-40B4-BE49-F238E27FC236}">
                    <a16:creationId xmlns:a16="http://schemas.microsoft.com/office/drawing/2014/main" id="{706A7C9F-F1E4-41E2-90FD-BE3B7FB64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16091" y="5595451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878B3A9-F7E8-40E9-83E3-30F0B85ACD6B}"/>
                  </a:ext>
                </a:extLst>
              </p:cNvPr>
              <p:cNvGrpSpPr/>
              <p:nvPr/>
            </p:nvGrpSpPr>
            <p:grpSpPr>
              <a:xfrm>
                <a:off x="7207617" y="5051661"/>
                <a:ext cx="418423" cy="116978"/>
                <a:chOff x="7207617" y="5178403"/>
                <a:chExt cx="418423" cy="116978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4DEB3432-C871-48C4-BA02-134D87B961A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09062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1AA7419-6E6A-4036-A547-E38116450D3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07617" y="5178403"/>
                  <a:ext cx="116978" cy="1169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C8E1B88D-4353-4BC4-B6DC-70180FE06F2A}"/>
                    </a:ext>
                  </a:extLst>
                </p:cNvPr>
                <p:cNvSpPr/>
                <p:nvPr/>
              </p:nvSpPr>
              <p:spPr>
                <a:xfrm>
                  <a:off x="7224832" y="5220674"/>
                  <a:ext cx="388097" cy="29244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3" name="TextBox 25">
                <a:extLst>
                  <a:ext uri="{FF2B5EF4-FFF2-40B4-BE49-F238E27FC236}">
                    <a16:creationId xmlns:a16="http://schemas.microsoft.com/office/drawing/2014/main" id="{2B1C80B3-FC2A-4D7C-9641-81D0650BDAAE}"/>
                  </a:ext>
                </a:extLst>
              </p:cNvPr>
              <p:cNvSpPr txBox="1"/>
              <p:nvPr/>
            </p:nvSpPr>
            <p:spPr>
              <a:xfrm>
                <a:off x="6872956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2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976B442-39ED-4A24-8DA6-716188567D96}"/>
                  </a:ext>
                </a:extLst>
              </p:cNvPr>
              <p:cNvSpPr txBox="1"/>
              <p:nvPr/>
            </p:nvSpPr>
            <p:spPr>
              <a:xfrm>
                <a:off x="6956112" y="6109265"/>
                <a:ext cx="959812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 sec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9A483-5E4B-48A2-A593-A5799F88C0B7}"/>
                </a:ext>
              </a:extLst>
            </p:cNvPr>
            <p:cNvGrpSpPr/>
            <p:nvPr/>
          </p:nvGrpSpPr>
          <p:grpSpPr>
            <a:xfrm>
              <a:off x="8770747" y="4515318"/>
              <a:ext cx="1154804" cy="1898261"/>
              <a:chOff x="8264997" y="4515318"/>
              <a:chExt cx="1154804" cy="1898261"/>
            </a:xfrm>
          </p:grpSpPr>
          <p:sp>
            <p:nvSpPr>
              <p:cNvPr id="108" name="Oval 11">
                <a:extLst>
                  <a:ext uri="{FF2B5EF4-FFF2-40B4-BE49-F238E27FC236}">
                    <a16:creationId xmlns:a16="http://schemas.microsoft.com/office/drawing/2014/main" id="{181A337D-7613-48C3-950F-2FDCA0A5F3A7}"/>
                  </a:ext>
                </a:extLst>
              </p:cNvPr>
              <p:cNvSpPr/>
              <p:nvPr/>
            </p:nvSpPr>
            <p:spPr>
              <a:xfrm>
                <a:off x="8448828" y="4743015"/>
                <a:ext cx="758283" cy="75828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TextBox 25">
                <a:extLst>
                  <a:ext uri="{FF2B5EF4-FFF2-40B4-BE49-F238E27FC236}">
                    <a16:creationId xmlns:a16="http://schemas.microsoft.com/office/drawing/2014/main" id="{04AF6A03-35B1-4871-9B4C-9F02565C414D}"/>
                  </a:ext>
                </a:extLst>
              </p:cNvPr>
              <p:cNvSpPr txBox="1"/>
              <p:nvPr/>
            </p:nvSpPr>
            <p:spPr>
              <a:xfrm>
                <a:off x="8284098" y="5829286"/>
                <a:ext cx="1086269" cy="4043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~500 M</a:t>
                </a:r>
                <a:endParaRPr lang="en-US" sz="2000" dirty="0">
                  <a:solidFill>
                    <a:srgbClr val="C00000"/>
                  </a:solidFill>
                  <a:cs typeface="Calibri Light" panose="020F0302020204030204" pitchFamily="34" charset="0"/>
                </a:endParaRPr>
              </a:p>
              <a:p>
                <a:pPr algn="ctr">
                  <a:lnSpc>
                    <a:spcPts val="1500"/>
                  </a:lnSpc>
                </a:pPr>
                <a:endPara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cxnSp>
            <p:nvCxnSpPr>
              <p:cNvPr id="110" name="Straight Connector 35">
                <a:extLst>
                  <a:ext uri="{FF2B5EF4-FFF2-40B4-BE49-F238E27FC236}">
                    <a16:creationId xmlns:a16="http://schemas.microsoft.com/office/drawing/2014/main" id="{52A63E44-8B1F-43D6-921E-3B1FB287B9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27233" y="5607458"/>
                <a:ext cx="0" cy="14454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0E2FE85-AC98-4270-85FB-A933DCC88A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00736" y="5063668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99FA53-8FB3-4D4F-A19F-3D4E53487DC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4932199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A374337C-BE5E-4D82-8E42-FD7FF46C1C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7273" y="5195136"/>
                <a:ext cx="116978" cy="1169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BA99DD9-E3AB-46EA-88E6-46931B91CB00}"/>
                  </a:ext>
                </a:extLst>
              </p:cNvPr>
              <p:cNvSpPr/>
              <p:nvPr/>
            </p:nvSpPr>
            <p:spPr>
              <a:xfrm rot="20170623">
                <a:off x="8619291" y="5040015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8BB2479B-B419-4BFC-BB49-842A77103F74}"/>
                  </a:ext>
                </a:extLst>
              </p:cNvPr>
              <p:cNvSpPr/>
              <p:nvPr/>
            </p:nvSpPr>
            <p:spPr>
              <a:xfrm rot="1429377" flipV="1">
                <a:off x="8611269" y="5173366"/>
                <a:ext cx="388097" cy="292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4" name="TextBox 25">
                <a:extLst>
                  <a:ext uri="{FF2B5EF4-FFF2-40B4-BE49-F238E27FC236}">
                    <a16:creationId xmlns:a16="http://schemas.microsoft.com/office/drawing/2014/main" id="{5E10AFFC-2FCA-417E-BB1E-204067EF0C6D}"/>
                  </a:ext>
                </a:extLst>
              </p:cNvPr>
              <p:cNvSpPr txBox="1"/>
              <p:nvPr/>
            </p:nvSpPr>
            <p:spPr>
              <a:xfrm>
                <a:off x="8284098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3</a:t>
                </a: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CC85B1F9-7518-4FD2-835A-7C4FAC58F183}"/>
                  </a:ext>
                </a:extLst>
              </p:cNvPr>
              <p:cNvSpPr txBox="1"/>
              <p:nvPr/>
            </p:nvSpPr>
            <p:spPr>
              <a:xfrm>
                <a:off x="8264997" y="6109265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7 min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59B8914-396C-41D4-9559-D32BECA6E3A5}"/>
                </a:ext>
              </a:extLst>
            </p:cNvPr>
            <p:cNvGrpSpPr/>
            <p:nvPr/>
          </p:nvGrpSpPr>
          <p:grpSpPr>
            <a:xfrm>
              <a:off x="9850104" y="4515318"/>
              <a:ext cx="1154804" cy="1896623"/>
              <a:chOff x="9651322" y="4515318"/>
              <a:chExt cx="1154804" cy="1896623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0BCE8071-97F3-4D48-9817-FCAA4762E841}"/>
                  </a:ext>
                </a:extLst>
              </p:cNvPr>
              <p:cNvGrpSpPr/>
              <p:nvPr/>
            </p:nvGrpSpPr>
            <p:grpSpPr>
              <a:xfrm>
                <a:off x="9702670" y="4731008"/>
                <a:ext cx="1086269" cy="1298252"/>
                <a:chOff x="8686076" y="4857750"/>
                <a:chExt cx="1086269" cy="1298252"/>
              </a:xfrm>
            </p:grpSpPr>
            <p:sp>
              <p:nvSpPr>
                <p:cNvPr id="128" name="Oval 11">
                  <a:extLst>
                    <a:ext uri="{FF2B5EF4-FFF2-40B4-BE49-F238E27FC236}">
                      <a16:creationId xmlns:a16="http://schemas.microsoft.com/office/drawing/2014/main" id="{F6337968-EB90-4702-B02C-09A64BD6BEBE}"/>
                    </a:ext>
                  </a:extLst>
                </p:cNvPr>
                <p:cNvSpPr/>
                <p:nvPr/>
              </p:nvSpPr>
              <p:spPr>
                <a:xfrm>
                  <a:off x="8850807" y="4857750"/>
                  <a:ext cx="758283" cy="758283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9" name="TextBox 25">
                  <a:extLst>
                    <a:ext uri="{FF2B5EF4-FFF2-40B4-BE49-F238E27FC236}">
                      <a16:creationId xmlns:a16="http://schemas.microsoft.com/office/drawing/2014/main" id="{51DA9D5C-911D-4195-B506-2095EAB6189F}"/>
                    </a:ext>
                  </a:extLst>
                </p:cNvPr>
                <p:cNvSpPr txBox="1"/>
                <p:nvPr/>
              </p:nvSpPr>
              <p:spPr>
                <a:xfrm>
                  <a:off x="8686076" y="5944021"/>
                  <a:ext cx="1086269" cy="21198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ts val="1500"/>
                    </a:lnSpc>
                  </a:pPr>
                  <a:r>
                    <a:rPr lang="en-US" sz="20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Calibri Light" panose="020F0302020204030204" pitchFamily="34" charset="0"/>
                    </a:rPr>
                    <a:t>~500 B</a:t>
                  </a:r>
                  <a:endParaRPr lang="en-US" sz="1600" dirty="0">
                    <a:solidFill>
                      <a:srgbClr val="C00000"/>
                    </a:solidFill>
                    <a:cs typeface="Calibri Light" panose="020F0302020204030204" pitchFamily="34" charset="0"/>
                  </a:endParaRPr>
                </a:p>
              </p:txBody>
            </p:sp>
            <p:cxnSp>
              <p:nvCxnSpPr>
                <p:cNvPr id="130" name="Straight Connector 35">
                  <a:extLst>
                    <a:ext uri="{FF2B5EF4-FFF2-40B4-BE49-F238E27FC236}">
                      <a16:creationId xmlns:a16="http://schemas.microsoft.com/office/drawing/2014/main" id="{86CDFA92-4B40-46FF-BA1B-0F1D3CB6A4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9211" y="5722193"/>
                  <a:ext cx="0" cy="144545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headEnd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D248B6FF-45E3-44B2-8642-BC6B272A8A5B}"/>
                  </a:ext>
                </a:extLst>
              </p:cNvPr>
              <p:cNvGrpSpPr/>
              <p:nvPr/>
            </p:nvGrpSpPr>
            <p:grpSpPr>
              <a:xfrm>
                <a:off x="10056616" y="4934010"/>
                <a:ext cx="379853" cy="352280"/>
                <a:chOff x="9672031" y="4183266"/>
                <a:chExt cx="467601" cy="433658"/>
              </a:xfrm>
            </p:grpSpPr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765B19E6-FDB6-400A-93CD-C914EB368C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3106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657309AD-E5B2-40A6-88CB-35A12377AF0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2031" y="4183266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ACAA2098-3F7B-46D8-9F4F-3646D6356261}"/>
                    </a:ext>
                  </a:extLst>
                </p:cNvPr>
                <p:cNvSpPr/>
                <p:nvPr/>
              </p:nvSpPr>
              <p:spPr>
                <a:xfrm>
                  <a:off x="9693223" y="4235303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C353C777-291C-49AF-978F-9A78176D07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995632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CC4A5408-6211-4BFD-A846-A3DEC36E0FA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674557" y="4472924"/>
                  <a:ext cx="144000" cy="144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C4CEDB-1452-4C32-A2AA-A002262EA2EE}"/>
                    </a:ext>
                  </a:extLst>
                </p:cNvPr>
                <p:cNvSpPr/>
                <p:nvPr/>
              </p:nvSpPr>
              <p:spPr>
                <a:xfrm>
                  <a:off x="9695749" y="4524961"/>
                  <a:ext cx="396000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C50131E4-7CAC-4FF0-B306-F15C05E11E0C}"/>
                    </a:ext>
                  </a:extLst>
                </p:cNvPr>
                <p:cNvSpPr/>
                <p:nvPr/>
              </p:nvSpPr>
              <p:spPr>
                <a:xfrm rot="5400000">
                  <a:off x="9606830" y="4349005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86867195-9D32-4E89-A5EE-8A01F99876BC}"/>
                    </a:ext>
                  </a:extLst>
                </p:cNvPr>
                <p:cNvSpPr/>
                <p:nvPr/>
              </p:nvSpPr>
              <p:spPr>
                <a:xfrm rot="5400000">
                  <a:off x="9927905" y="4357909"/>
                  <a:ext cx="279454" cy="360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  <p:sp>
            <p:nvSpPr>
              <p:cNvPr id="135" name="TextBox 25">
                <a:extLst>
                  <a:ext uri="{FF2B5EF4-FFF2-40B4-BE49-F238E27FC236}">
                    <a16:creationId xmlns:a16="http://schemas.microsoft.com/office/drawing/2014/main" id="{8365625E-4FE9-485D-BD94-4DD1DBEACEED}"/>
                  </a:ext>
                </a:extLst>
              </p:cNvPr>
              <p:cNvSpPr txBox="1"/>
              <p:nvPr/>
            </p:nvSpPr>
            <p:spPr>
              <a:xfrm>
                <a:off x="9702670" y="4515318"/>
                <a:ext cx="1086269" cy="2119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Calibri Light" panose="020F0302020204030204" pitchFamily="34" charset="0"/>
                  </a:rPr>
                  <a:t>4</a:t>
                </a:r>
                <a:endPara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endParaRP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1B58EDAE-61D9-44EE-ACE7-B8AE378E8808}"/>
                  </a:ext>
                </a:extLst>
              </p:cNvPr>
              <p:cNvSpPr txBox="1"/>
              <p:nvPr/>
            </p:nvSpPr>
            <p:spPr>
              <a:xfrm>
                <a:off x="9651322" y="6107627"/>
                <a:ext cx="1154804" cy="3043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500"/>
                  </a:lnSpc>
                </a:pPr>
                <a:r>
                  <a:rPr lang="en-US" sz="2000" b="1" dirty="0">
                    <a:solidFill>
                      <a:srgbClr val="C00000"/>
                    </a:solidFill>
                    <a:cs typeface="Calibri Light" panose="020F0302020204030204" pitchFamily="34" charset="0"/>
                  </a:rPr>
                  <a:t>(1.5 day)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/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1" i="1" dirty="0" smtClean="0">
                          <a:solidFill>
                            <a:srgbClr val="404040"/>
                          </a:solidFill>
                          <a:latin typeface="Cambria Math" panose="02040503050406030204" pitchFamily="18" charset="0"/>
                        </a:rPr>
                        <m:t>𝟏𝟎𝟎𝟎</m:t>
                      </m:r>
                    </m:oMath>
                  </m:oMathPara>
                </a14:m>
                <a:endParaRPr lang="en-NL" b="1" dirty="0">
                  <a:solidFill>
                    <a:srgbClr val="404040"/>
                  </a:solidFill>
                </a:endParaRPr>
              </a:p>
            </p:txBody>
          </p:sp>
        </mc:Choice>
        <mc:Fallback xmlns=""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B8C75BD4-3B5B-403F-9FEF-2918CF8A46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0168" y="6027925"/>
                <a:ext cx="1451357" cy="400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3" name="Group 10">
            <a:extLst>
              <a:ext uri="{FF2B5EF4-FFF2-40B4-BE49-F238E27FC236}">
                <a16:creationId xmlns:a16="http://schemas.microsoft.com/office/drawing/2014/main" id="{D486CC1A-AF58-4B24-98BA-D9D012BAEA9F}"/>
              </a:ext>
            </a:extLst>
          </p:cNvPr>
          <p:cNvGrpSpPr/>
          <p:nvPr/>
        </p:nvGrpSpPr>
        <p:grpSpPr>
          <a:xfrm>
            <a:off x="568364" y="3521994"/>
            <a:ext cx="811103" cy="801212"/>
            <a:chOff x="4279221" y="2033354"/>
            <a:chExt cx="1412875" cy="1395646"/>
          </a:xfrm>
        </p:grpSpPr>
        <p:sp>
          <p:nvSpPr>
            <p:cNvPr id="94" name="Freeform 5">
              <a:extLst>
                <a:ext uri="{FF2B5EF4-FFF2-40B4-BE49-F238E27FC236}">
                  <a16:creationId xmlns:a16="http://schemas.microsoft.com/office/drawing/2014/main" id="{CA1D811B-205C-4246-BA79-1198DBCF2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">
              <a:extLst>
                <a:ext uri="{FF2B5EF4-FFF2-40B4-BE49-F238E27FC236}">
                  <a16:creationId xmlns:a16="http://schemas.microsoft.com/office/drawing/2014/main" id="{DC659016-AF79-476D-AC47-3D9C044A8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96" name="Group 10">
            <a:extLst>
              <a:ext uri="{FF2B5EF4-FFF2-40B4-BE49-F238E27FC236}">
                <a16:creationId xmlns:a16="http://schemas.microsoft.com/office/drawing/2014/main" id="{36E910EA-979D-493D-85AD-AD99E5A8E633}"/>
              </a:ext>
            </a:extLst>
          </p:cNvPr>
          <p:cNvGrpSpPr/>
          <p:nvPr/>
        </p:nvGrpSpPr>
        <p:grpSpPr>
          <a:xfrm>
            <a:off x="971577" y="5005260"/>
            <a:ext cx="811103" cy="801212"/>
            <a:chOff x="4279221" y="2033354"/>
            <a:chExt cx="1412875" cy="1395646"/>
          </a:xfrm>
        </p:grpSpPr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17568741-D399-4A26-A3BF-8C46004A0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">
              <a:extLst>
                <a:ext uri="{FF2B5EF4-FFF2-40B4-BE49-F238E27FC236}">
                  <a16:creationId xmlns:a16="http://schemas.microsoft.com/office/drawing/2014/main" id="{5474C6B6-1CB8-4DA8-ADE9-C74D0146B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ACF9428-D02B-4354-ADF8-DB8E1BDF3424}"/>
              </a:ext>
            </a:extLst>
          </p:cNvPr>
          <p:cNvGrpSpPr/>
          <p:nvPr/>
        </p:nvGrpSpPr>
        <p:grpSpPr>
          <a:xfrm>
            <a:off x="800186" y="3723133"/>
            <a:ext cx="4479401" cy="399094"/>
            <a:chOff x="1205675" y="4635850"/>
            <a:chExt cx="4479401" cy="399094"/>
          </a:xfrm>
        </p:grpSpPr>
        <p:sp>
          <p:nvSpPr>
            <p:cNvPr id="116" name="TextBox 193">
              <a:extLst>
                <a:ext uri="{FF2B5EF4-FFF2-40B4-BE49-F238E27FC236}">
                  <a16:creationId xmlns:a16="http://schemas.microsoft.com/office/drawing/2014/main" id="{6CEE71D2-A79B-49BA-B53D-DD407D013975}"/>
                </a:ext>
              </a:extLst>
            </p:cNvPr>
            <p:cNvSpPr txBox="1"/>
            <p:nvPr/>
          </p:nvSpPr>
          <p:spPr>
            <a:xfrm>
              <a:off x="2038633" y="4686459"/>
              <a:ext cx="364644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riori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-lik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thods not possible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58" name="Picture 157" descr="Icon&#10;&#10;Description automatically generated">
              <a:extLst>
                <a:ext uri="{FF2B5EF4-FFF2-40B4-BE49-F238E27FC236}">
                  <a16:creationId xmlns:a16="http://schemas.microsoft.com/office/drawing/2014/main" id="{DD5548A5-EACE-4017-AEA5-9EFF82119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5675" y="4635850"/>
              <a:ext cx="399094" cy="399094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00B943A8-C87F-4FA8-8A48-B31DED520F05}"/>
              </a:ext>
            </a:extLst>
          </p:cNvPr>
          <p:cNvGrpSpPr/>
          <p:nvPr/>
        </p:nvGrpSpPr>
        <p:grpSpPr>
          <a:xfrm>
            <a:off x="1188931" y="5095408"/>
            <a:ext cx="4713662" cy="615553"/>
            <a:chOff x="786753" y="3323654"/>
            <a:chExt cx="4713662" cy="615553"/>
          </a:xfrm>
        </p:grpSpPr>
        <p:sp>
          <p:nvSpPr>
            <p:cNvPr id="160" name="TextBox 192">
              <a:extLst>
                <a:ext uri="{FF2B5EF4-FFF2-40B4-BE49-F238E27FC236}">
                  <a16:creationId xmlns:a16="http://schemas.microsoft.com/office/drawing/2014/main" id="{939E17F1-21D2-4EEE-B7C1-76430F27C17D}"/>
                </a:ext>
              </a:extLst>
            </p:cNvPr>
            <p:cNvSpPr txBox="1"/>
            <p:nvPr/>
          </p:nvSpPr>
          <p:spPr>
            <a:xfrm>
              <a:off x="1751164" y="3323654"/>
              <a:ext cx="374925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urrent solutions: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ne-shot </a:t>
              </a: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 completeness guarantees</a:t>
              </a:r>
            </a:p>
          </p:txBody>
        </p:sp>
        <p:pic>
          <p:nvPicPr>
            <p:cNvPr id="161" name="Picture 160" descr="Icon&#10;&#10;Description automatically generated">
              <a:extLst>
                <a:ext uri="{FF2B5EF4-FFF2-40B4-BE49-F238E27FC236}">
                  <a16:creationId xmlns:a16="http://schemas.microsoft.com/office/drawing/2014/main" id="{9F24F565-7816-4842-A603-0E86B8B05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753" y="3437514"/>
              <a:ext cx="410995" cy="410995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917A53C-D0BB-4318-A3E6-431F6ACF389E}"/>
                  </a:ext>
                </a:extLst>
              </p:cNvPr>
              <p:cNvSpPr txBox="1"/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1" i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𝐎</m:t>
                      </m:r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ctrlPr>
                            <a:rPr lang="en-US" sz="2000" b="1" i="1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1" i="1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𝒏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2000" b="1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sz="2000" b="1" i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N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917A53C-D0BB-4318-A3E6-431F6ACF38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3719" y="1693874"/>
                <a:ext cx="2420293" cy="55887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2B4752-A966-4A2D-9043-E37617760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8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959294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2059EDC-BF75-4559-AFF2-56767C9970C0}"/>
              </a:ext>
            </a:extLst>
          </p:cNvPr>
          <p:cNvGrpSpPr/>
          <p:nvPr/>
        </p:nvGrpSpPr>
        <p:grpSpPr>
          <a:xfrm>
            <a:off x="1883802" y="1683587"/>
            <a:ext cx="3086550" cy="430887"/>
            <a:chOff x="1871792" y="1639236"/>
            <a:chExt cx="2715647" cy="430887"/>
          </a:xfrm>
        </p:grpSpPr>
        <p:sp>
          <p:nvSpPr>
            <p:cNvPr id="29" name="TextBox 191">
              <a:extLst>
                <a:ext uri="{FF2B5EF4-FFF2-40B4-BE49-F238E27FC236}">
                  <a16:creationId xmlns:a16="http://schemas.microsoft.com/office/drawing/2014/main" id="{88FCD6FD-52CC-4200-A220-71C7FE1BA8CC}"/>
                </a:ext>
              </a:extLst>
            </p:cNvPr>
            <p:cNvSpPr txBox="1"/>
            <p:nvPr/>
          </p:nvSpPr>
          <p:spPr>
            <a:xfrm>
              <a:off x="2067387" y="1639236"/>
              <a:ext cx="245134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Query parameter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0D2183-8409-4E69-9353-E90950898CE3}"/>
                </a:ext>
              </a:extLst>
            </p:cNvPr>
            <p:cNvCxnSpPr>
              <a:cxnSpLocks/>
            </p:cNvCxnSpPr>
            <p:nvPr/>
          </p:nvCxnSpPr>
          <p:spPr>
            <a:xfrm>
              <a:off x="1871792" y="2070123"/>
              <a:ext cx="2715647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20C3AF0-208A-4C67-8467-3D4F80CECFFA}"/>
              </a:ext>
            </a:extLst>
          </p:cNvPr>
          <p:cNvGrpSpPr/>
          <p:nvPr/>
        </p:nvGrpSpPr>
        <p:grpSpPr>
          <a:xfrm>
            <a:off x="7856913" y="1683587"/>
            <a:ext cx="2228976" cy="430887"/>
            <a:chOff x="2124485" y="1639236"/>
            <a:chExt cx="1961125" cy="430887"/>
          </a:xfrm>
        </p:grpSpPr>
        <p:sp>
          <p:nvSpPr>
            <p:cNvPr id="32" name="TextBox 191">
              <a:extLst>
                <a:ext uri="{FF2B5EF4-FFF2-40B4-BE49-F238E27FC236}">
                  <a16:creationId xmlns:a16="http://schemas.microsoft.com/office/drawing/2014/main" id="{9AFDB611-14FC-457C-9F59-A004CA7A1DCC}"/>
                </a:ext>
              </a:extLst>
            </p:cNvPr>
            <p:cNvSpPr txBox="1"/>
            <p:nvPr/>
          </p:nvSpPr>
          <p:spPr>
            <a:xfrm>
              <a:off x="2414039" y="1639236"/>
              <a:ext cx="146705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</a:rPr>
                <a:t>Extensions</a:t>
              </a:r>
              <a:endParaRPr lang="en-US" sz="2800" i="1" dirty="0">
                <a:solidFill>
                  <a:srgbClr val="C00000"/>
                </a:solidFill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99BC814-2C9F-43F4-AE06-F96CD4EC20C9}"/>
                </a:ext>
              </a:extLst>
            </p:cNvPr>
            <p:cNvCxnSpPr>
              <a:cxnSpLocks/>
            </p:cNvCxnSpPr>
            <p:nvPr/>
          </p:nvCxnSpPr>
          <p:spPr>
            <a:xfrm>
              <a:off x="2124485" y="2044909"/>
              <a:ext cx="1961125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367310-9180-410B-9347-F2678C5B40EF}"/>
              </a:ext>
            </a:extLst>
          </p:cNvPr>
          <p:cNvGrpSpPr/>
          <p:nvPr/>
        </p:nvGrpSpPr>
        <p:grpSpPr>
          <a:xfrm>
            <a:off x="6769584" y="4300435"/>
            <a:ext cx="4532421" cy="801212"/>
            <a:chOff x="7045809" y="4300435"/>
            <a:chExt cx="4532421" cy="801212"/>
          </a:xfrm>
        </p:grpSpPr>
        <p:sp>
          <p:nvSpPr>
            <p:cNvPr id="35" name="TextBox 192">
              <a:extLst>
                <a:ext uri="{FF2B5EF4-FFF2-40B4-BE49-F238E27FC236}">
                  <a16:creationId xmlns:a16="http://schemas.microsoft.com/office/drawing/2014/main" id="{A8F39D5C-B430-4B7E-B5AD-D774ED261C80}"/>
                </a:ext>
              </a:extLst>
            </p:cNvPr>
            <p:cNvSpPr txBox="1"/>
            <p:nvPr/>
          </p:nvSpPr>
          <p:spPr>
            <a:xfrm>
              <a:off x="8044498" y="4422504"/>
              <a:ext cx="353373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</a:rPr>
                <a:t>Streaming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With sub-second responses</a:t>
              </a:r>
            </a:p>
          </p:txBody>
        </p:sp>
        <p:grpSp>
          <p:nvGrpSpPr>
            <p:cNvPr id="36" name="Group 10">
              <a:extLst>
                <a:ext uri="{FF2B5EF4-FFF2-40B4-BE49-F238E27FC236}">
                  <a16:creationId xmlns:a16="http://schemas.microsoft.com/office/drawing/2014/main" id="{BA32E8C4-712A-4363-BD34-B6A6629BF11A}"/>
                </a:ext>
              </a:extLst>
            </p:cNvPr>
            <p:cNvGrpSpPr/>
            <p:nvPr/>
          </p:nvGrpSpPr>
          <p:grpSpPr>
            <a:xfrm>
              <a:off x="7045809" y="4300435"/>
              <a:ext cx="811103" cy="801212"/>
              <a:chOff x="4279221" y="2033354"/>
              <a:chExt cx="1412875" cy="1395646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F7B90682-2AC4-4F6E-ABEF-13EB1C78F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39" name="Freeform 6">
                <a:extLst>
                  <a:ext uri="{FF2B5EF4-FFF2-40B4-BE49-F238E27FC236}">
                    <a16:creationId xmlns:a16="http://schemas.microsoft.com/office/drawing/2014/main" id="{7C064308-AE55-4A74-BDCE-08E58FFEC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37" name="Picture 36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8281F937-EF76-4EDE-B71C-30D925300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94" b="26349"/>
            <a:stretch/>
          </p:blipFill>
          <p:spPr>
            <a:xfrm>
              <a:off x="7224269" y="4575586"/>
              <a:ext cx="490981" cy="23595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E0043C-1D2F-4297-A30B-44B88D685293}"/>
              </a:ext>
            </a:extLst>
          </p:cNvPr>
          <p:cNvGrpSpPr/>
          <p:nvPr/>
        </p:nvGrpSpPr>
        <p:grpSpPr>
          <a:xfrm>
            <a:off x="6769584" y="2779256"/>
            <a:ext cx="4913819" cy="801212"/>
            <a:chOff x="7045809" y="2779256"/>
            <a:chExt cx="4913819" cy="801212"/>
          </a:xfrm>
        </p:grpSpPr>
        <p:sp>
          <p:nvSpPr>
            <p:cNvPr id="41" name="TextBox 191">
              <a:extLst>
                <a:ext uri="{FF2B5EF4-FFF2-40B4-BE49-F238E27FC236}">
                  <a16:creationId xmlns:a16="http://schemas.microsoft.com/office/drawing/2014/main" id="{89F50E40-5481-47C0-976C-CCC5BBB8769B}"/>
                </a:ext>
              </a:extLst>
            </p:cNvPr>
            <p:cNvSpPr txBox="1"/>
            <p:nvPr/>
          </p:nvSpPr>
          <p:spPr>
            <a:xfrm>
              <a:off x="8091324" y="2883847"/>
              <a:ext cx="3868304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Progressive</a:t>
              </a:r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gorithm</a:t>
              </a:r>
              <a:endParaRPr lang="en-US" sz="2000" b="1" dirty="0">
                <a:solidFill>
                  <a:srgbClr val="C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peed-up through </a:t>
              </a:r>
              <a:r>
                <a:rPr lang="en-US" sz="2000" i="1" u="sng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ioritization</a:t>
              </a:r>
              <a:endParaRPr lang="en-US" sz="20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grpSp>
          <p:nvGrpSpPr>
            <p:cNvPr id="42" name="Group 10">
              <a:extLst>
                <a:ext uri="{FF2B5EF4-FFF2-40B4-BE49-F238E27FC236}">
                  <a16:creationId xmlns:a16="http://schemas.microsoft.com/office/drawing/2014/main" id="{54B73C39-02ED-4986-A514-57C3F1D2F901}"/>
                </a:ext>
              </a:extLst>
            </p:cNvPr>
            <p:cNvGrpSpPr/>
            <p:nvPr/>
          </p:nvGrpSpPr>
          <p:grpSpPr>
            <a:xfrm>
              <a:off x="7045809" y="2779256"/>
              <a:ext cx="811103" cy="801212"/>
              <a:chOff x="4279221" y="2033354"/>
              <a:chExt cx="1412875" cy="1395646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2F34857F-354C-4F9C-B1F5-034FB5E6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0F44C66D-1C12-488A-A66C-A58F670D3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pic>
          <p:nvPicPr>
            <p:cNvPr id="43" name="Picture 42" descr="Icon&#10;&#10;Description automatically generated">
              <a:extLst>
                <a:ext uri="{FF2B5EF4-FFF2-40B4-BE49-F238E27FC236}">
                  <a16:creationId xmlns:a16="http://schemas.microsoft.com/office/drawing/2014/main" id="{27392CF2-0523-4950-A1CA-441A1D312F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0866" y="2899895"/>
              <a:ext cx="537785" cy="537785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9A92A8-A0A5-4DAE-B98F-9B3E3243049A}"/>
              </a:ext>
            </a:extLst>
          </p:cNvPr>
          <p:cNvGrpSpPr/>
          <p:nvPr/>
        </p:nvGrpSpPr>
        <p:grpSpPr>
          <a:xfrm>
            <a:off x="1155689" y="4913008"/>
            <a:ext cx="4940311" cy="801212"/>
            <a:chOff x="1155689" y="4913008"/>
            <a:chExt cx="4940311" cy="80121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7C0595D-1FC8-45CB-A072-5E405103F30F}"/>
                </a:ext>
              </a:extLst>
            </p:cNvPr>
            <p:cNvGrpSpPr/>
            <p:nvPr/>
          </p:nvGrpSpPr>
          <p:grpSpPr>
            <a:xfrm>
              <a:off x="1155689" y="4913008"/>
              <a:ext cx="4940311" cy="801212"/>
              <a:chOff x="1155689" y="4446085"/>
              <a:chExt cx="4940311" cy="801212"/>
            </a:xfrm>
          </p:grpSpPr>
          <p:sp>
            <p:nvSpPr>
              <p:cNvPr id="49" name="TextBox 193">
                <a:extLst>
                  <a:ext uri="{FF2B5EF4-FFF2-40B4-BE49-F238E27FC236}">
                    <a16:creationId xmlns:a16="http://schemas.microsoft.com/office/drawing/2014/main" id="{6E8E93AD-49FD-44EA-8D45-5C46E4E7593A}"/>
                  </a:ext>
                </a:extLst>
              </p:cNvPr>
              <p:cNvSpPr txBox="1"/>
              <p:nvPr/>
            </p:nvSpPr>
            <p:spPr>
              <a:xfrm>
                <a:off x="2201204" y="4568154"/>
                <a:ext cx="3894796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dditional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constraints 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(</a:t>
                </a:r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ptional</a:t>
                </a:r>
                <a:r>
                  <a:rPr lang="en-US" sz="2000" b="1" dirty="0">
                    <a:solidFill>
                      <a:schemeClr val="bg2">
                        <a:lumMod val="25000"/>
                      </a:schemeClr>
                    </a:solidFill>
                  </a:rPr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E.g., only low pairwise correlations</a:t>
                </a:r>
              </a:p>
            </p:txBody>
          </p:sp>
          <p:grpSp>
            <p:nvGrpSpPr>
              <p:cNvPr id="50" name="Group 10">
                <a:extLst>
                  <a:ext uri="{FF2B5EF4-FFF2-40B4-BE49-F238E27FC236}">
                    <a16:creationId xmlns:a16="http://schemas.microsoft.com/office/drawing/2014/main" id="{63A7198F-C5D2-4956-8C40-7FB30EB1146F}"/>
                  </a:ext>
                </a:extLst>
              </p:cNvPr>
              <p:cNvGrpSpPr/>
              <p:nvPr/>
            </p:nvGrpSpPr>
            <p:grpSpPr>
              <a:xfrm>
                <a:off x="1155689" y="4446085"/>
                <a:ext cx="811103" cy="801212"/>
                <a:chOff x="4279221" y="2033354"/>
                <a:chExt cx="1412875" cy="1395646"/>
              </a:xfrm>
            </p:grpSpPr>
            <p:sp>
              <p:nvSpPr>
                <p:cNvPr id="51" name="Freeform 5">
                  <a:extLst>
                    <a:ext uri="{FF2B5EF4-FFF2-40B4-BE49-F238E27FC236}">
                      <a16:creationId xmlns:a16="http://schemas.microsoft.com/office/drawing/2014/main" id="{8E5A7810-0C48-405E-BF23-4C98720ECB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52" name="Freeform 6">
                  <a:extLst>
                    <a:ext uri="{FF2B5EF4-FFF2-40B4-BE49-F238E27FC236}">
                      <a16:creationId xmlns:a16="http://schemas.microsoft.com/office/drawing/2014/main" id="{B9CFECEC-5660-4D9D-ABD7-3E8553191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5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</p:grpSp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E8DF6AEC-AD33-4DA2-9F43-F3292E677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860" y="5139662"/>
              <a:ext cx="371754" cy="37175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686C113-425C-42D3-B635-EB1E3486325D}"/>
              </a:ext>
            </a:extLst>
          </p:cNvPr>
          <p:cNvGrpSpPr/>
          <p:nvPr/>
        </p:nvGrpSpPr>
        <p:grpSpPr>
          <a:xfrm>
            <a:off x="752476" y="3645829"/>
            <a:ext cx="3918913" cy="801212"/>
            <a:chOff x="752476" y="3645829"/>
            <a:chExt cx="3918913" cy="801212"/>
          </a:xfrm>
        </p:grpSpPr>
        <p:grpSp>
          <p:nvGrpSpPr>
            <p:cNvPr id="54" name="Group 10">
              <a:extLst>
                <a:ext uri="{FF2B5EF4-FFF2-40B4-BE49-F238E27FC236}">
                  <a16:creationId xmlns:a16="http://schemas.microsoft.com/office/drawing/2014/main" id="{F2EDD889-ACB7-48FF-AC39-D106571DA7AD}"/>
                </a:ext>
              </a:extLst>
            </p:cNvPr>
            <p:cNvGrpSpPr/>
            <p:nvPr/>
          </p:nvGrpSpPr>
          <p:grpSpPr>
            <a:xfrm>
              <a:off x="752476" y="3645829"/>
              <a:ext cx="811103" cy="801212"/>
              <a:chOff x="4279221" y="2033354"/>
              <a:chExt cx="1412875" cy="1395646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DB77FE5E-C934-4FEE-AE02-A3D00565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6E546A91-62D2-4F9E-AC0B-3C38CE002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679965B-67DB-410E-9C97-F2187101A72C}"/>
                </a:ext>
              </a:extLst>
            </p:cNvPr>
            <p:cNvGrpSpPr/>
            <p:nvPr/>
          </p:nvGrpSpPr>
          <p:grpSpPr>
            <a:xfrm>
              <a:off x="990559" y="3748432"/>
              <a:ext cx="3680830" cy="615553"/>
              <a:chOff x="990559" y="3748432"/>
              <a:chExt cx="3680830" cy="615553"/>
            </a:xfrm>
          </p:grpSpPr>
          <p:sp>
            <p:nvSpPr>
              <p:cNvPr id="56" name="TextBox 192">
                <a:extLst>
                  <a:ext uri="{FF2B5EF4-FFF2-40B4-BE49-F238E27FC236}">
                    <a16:creationId xmlns:a16="http://schemas.microsoft.com/office/drawing/2014/main" id="{F04F5B4D-A665-4705-898D-F02DEC027DBF}"/>
                  </a:ext>
                </a:extLst>
              </p:cNvPr>
              <p:cNvSpPr txBox="1"/>
              <p:nvPr/>
            </p:nvSpPr>
            <p:spPr>
              <a:xfrm>
                <a:off x="1751165" y="3748432"/>
                <a:ext cx="2920224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Query </a:t>
                </a:r>
                <a:r>
                  <a:rPr lang="en-US" sz="2000" b="1" dirty="0">
                    <a:solidFill>
                      <a:srgbClr val="C00000"/>
                    </a:solidFill>
                  </a:rPr>
                  <a:t>Typ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i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[Threshold query, Top-k]</a:t>
                </a:r>
              </a:p>
            </p:txBody>
          </p:sp>
          <p:pic>
            <p:nvPicPr>
              <p:cNvPr id="57" name="Picture 56" descr="Icon&#10;&#10;Description automatically generated">
                <a:extLst>
                  <a:ext uri="{FF2B5EF4-FFF2-40B4-BE49-F238E27FC236}">
                    <a16:creationId xmlns:a16="http://schemas.microsoft.com/office/drawing/2014/main" id="{D6855702-9DCF-412B-8718-510D32AF4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0559" y="3821749"/>
                <a:ext cx="408107" cy="408107"/>
              </a:xfrm>
              <a:prstGeom prst="rect">
                <a:avLst/>
              </a:prstGeom>
            </p:spPr>
          </p:pic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056BF69-45AC-4700-9032-C52A1DDC9EDD}"/>
              </a:ext>
            </a:extLst>
          </p:cNvPr>
          <p:cNvGrpSpPr/>
          <p:nvPr/>
        </p:nvGrpSpPr>
        <p:grpSpPr>
          <a:xfrm>
            <a:off x="1155689" y="2378650"/>
            <a:ext cx="4940311" cy="801212"/>
            <a:chOff x="1155689" y="2378650"/>
            <a:chExt cx="4940311" cy="801212"/>
          </a:xfrm>
        </p:grpSpPr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6B650610-43ED-4682-A846-3430024547F2}"/>
                </a:ext>
              </a:extLst>
            </p:cNvPr>
            <p:cNvSpPr txBox="1"/>
            <p:nvPr/>
          </p:nvSpPr>
          <p:spPr>
            <a:xfrm>
              <a:off x="2201204" y="2461787"/>
              <a:ext cx="389479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rrelation </a:t>
              </a:r>
              <a:r>
                <a:rPr lang="en-US" sz="2000" b="1" dirty="0">
                  <a:solidFill>
                    <a:srgbClr val="C00000"/>
                  </a:solidFill>
                </a:rPr>
                <a:t>Measur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[Aggregated Pearson, Multipoles]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3A7C25D-354A-4FB9-B109-115C939B2E85}"/>
                </a:ext>
              </a:extLst>
            </p:cNvPr>
            <p:cNvGrpSpPr/>
            <p:nvPr/>
          </p:nvGrpSpPr>
          <p:grpSpPr>
            <a:xfrm>
              <a:off x="1155689" y="2378650"/>
              <a:ext cx="811103" cy="801212"/>
              <a:chOff x="1155689" y="2378650"/>
              <a:chExt cx="811103" cy="801212"/>
            </a:xfrm>
          </p:grpSpPr>
          <p:grpSp>
            <p:nvGrpSpPr>
              <p:cNvPr id="63" name="Group 10">
                <a:extLst>
                  <a:ext uri="{FF2B5EF4-FFF2-40B4-BE49-F238E27FC236}">
                    <a16:creationId xmlns:a16="http://schemas.microsoft.com/office/drawing/2014/main" id="{D787A14B-A949-4056-A7F1-71F13F848AC0}"/>
                  </a:ext>
                </a:extLst>
              </p:cNvPr>
              <p:cNvGrpSpPr/>
              <p:nvPr/>
            </p:nvGrpSpPr>
            <p:grpSpPr>
              <a:xfrm>
                <a:off x="1155689" y="2378650"/>
                <a:ext cx="811103" cy="801212"/>
                <a:chOff x="4279221" y="2033354"/>
                <a:chExt cx="1412875" cy="1395646"/>
              </a:xfrm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0BE39211-AE6C-4626-BC73-2C5F0ADB7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9221" y="2081212"/>
                  <a:ext cx="1412875" cy="1347788"/>
                </a:xfrm>
                <a:custGeom>
                  <a:avLst/>
                  <a:gdLst>
                    <a:gd name="T0" fmla="*/ 36 w 374"/>
                    <a:gd name="T1" fmla="*/ 145 h 356"/>
                    <a:gd name="T2" fmla="*/ 118 w 374"/>
                    <a:gd name="T3" fmla="*/ 65 h 356"/>
                    <a:gd name="T4" fmla="*/ 271 w 374"/>
                    <a:gd name="T5" fmla="*/ 39 h 356"/>
                    <a:gd name="T6" fmla="*/ 353 w 374"/>
                    <a:gd name="T7" fmla="*/ 207 h 356"/>
                    <a:gd name="T8" fmla="*/ 128 w 374"/>
                    <a:gd name="T9" fmla="*/ 310 h 356"/>
                    <a:gd name="T10" fmla="*/ 35 w 374"/>
                    <a:gd name="T11" fmla="*/ 218 h 356"/>
                    <a:gd name="T12" fmla="*/ 36 w 374"/>
                    <a:gd name="T13" fmla="*/ 145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4" h="356">
                      <a:moveTo>
                        <a:pt x="36" y="145"/>
                      </a:moveTo>
                      <a:cubicBezTo>
                        <a:pt x="61" y="130"/>
                        <a:pt x="78" y="127"/>
                        <a:pt x="118" y="65"/>
                      </a:cubicBezTo>
                      <a:cubicBezTo>
                        <a:pt x="159" y="3"/>
                        <a:pt x="231" y="0"/>
                        <a:pt x="271" y="39"/>
                      </a:cubicBezTo>
                      <a:cubicBezTo>
                        <a:pt x="311" y="78"/>
                        <a:pt x="374" y="119"/>
                        <a:pt x="353" y="207"/>
                      </a:cubicBezTo>
                      <a:cubicBezTo>
                        <a:pt x="332" y="296"/>
                        <a:pt x="216" y="356"/>
                        <a:pt x="128" y="310"/>
                      </a:cubicBezTo>
                      <a:cubicBezTo>
                        <a:pt x="76" y="282"/>
                        <a:pt x="53" y="251"/>
                        <a:pt x="35" y="218"/>
                      </a:cubicBezTo>
                      <a:cubicBezTo>
                        <a:pt x="23" y="196"/>
                        <a:pt x="0" y="166"/>
                        <a:pt x="36" y="14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0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1E47FC9A-B66A-459B-BD52-E7707F73A9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645" y="2033354"/>
                  <a:ext cx="1216024" cy="1336675"/>
                </a:xfrm>
                <a:custGeom>
                  <a:avLst/>
                  <a:gdLst>
                    <a:gd name="T0" fmla="*/ 223 w 322"/>
                    <a:gd name="T1" fmla="*/ 21 h 353"/>
                    <a:gd name="T2" fmla="*/ 113 w 322"/>
                    <a:gd name="T3" fmla="*/ 52 h 353"/>
                    <a:gd name="T4" fmla="*/ 14 w 322"/>
                    <a:gd name="T5" fmla="*/ 172 h 353"/>
                    <a:gd name="T6" fmla="*/ 119 w 322"/>
                    <a:gd name="T7" fmla="*/ 327 h 353"/>
                    <a:gd name="T8" fmla="*/ 320 w 322"/>
                    <a:gd name="T9" fmla="*/ 183 h 353"/>
                    <a:gd name="T10" fmla="*/ 287 w 322"/>
                    <a:gd name="T11" fmla="*/ 56 h 353"/>
                    <a:gd name="T12" fmla="*/ 223 w 322"/>
                    <a:gd name="T13" fmla="*/ 21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2" h="353">
                      <a:moveTo>
                        <a:pt x="223" y="21"/>
                      </a:moveTo>
                      <a:cubicBezTo>
                        <a:pt x="198" y="35"/>
                        <a:pt x="187" y="48"/>
                        <a:pt x="113" y="52"/>
                      </a:cubicBezTo>
                      <a:cubicBezTo>
                        <a:pt x="39" y="57"/>
                        <a:pt x="0" y="118"/>
                        <a:pt x="14" y="172"/>
                      </a:cubicBezTo>
                      <a:cubicBezTo>
                        <a:pt x="28" y="226"/>
                        <a:pt x="32" y="301"/>
                        <a:pt x="119" y="327"/>
                      </a:cubicBezTo>
                      <a:cubicBezTo>
                        <a:pt x="206" y="353"/>
                        <a:pt x="316" y="282"/>
                        <a:pt x="320" y="183"/>
                      </a:cubicBezTo>
                      <a:cubicBezTo>
                        <a:pt x="322" y="124"/>
                        <a:pt x="306" y="88"/>
                        <a:pt x="287" y="56"/>
                      </a:cubicBezTo>
                      <a:cubicBezTo>
                        <a:pt x="274" y="35"/>
                        <a:pt x="259" y="0"/>
                        <a:pt x="223" y="21"/>
                      </a:cubicBezTo>
                      <a:close/>
                    </a:path>
                  </a:pathLst>
                </a:custGeom>
                <a:solidFill>
                  <a:srgbClr val="C8191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>
                    <a:solidFill>
                      <a:schemeClr val="lt1"/>
                    </a:solidFill>
                  </a:endParaRPr>
                </a:p>
              </p:txBody>
            </p:sp>
          </p:grpSp>
          <p:pic>
            <p:nvPicPr>
              <p:cNvPr id="64" name="Picture 63" descr="A picture containing text, piano&#10;&#10;Description automatically generated">
                <a:extLst>
                  <a:ext uri="{FF2B5EF4-FFF2-40B4-BE49-F238E27FC236}">
                    <a16:creationId xmlns:a16="http://schemas.microsoft.com/office/drawing/2014/main" id="{F5818DB4-0BA0-4CEF-A06F-6C4753D2A3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0483" y="2572879"/>
                <a:ext cx="393371" cy="393371"/>
              </a:xfrm>
              <a:prstGeom prst="rect">
                <a:avLst/>
              </a:prstGeom>
            </p:spPr>
          </p:pic>
        </p:grp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DAADC15C-D2CD-47AB-8110-ED4C9E326129}"/>
              </a:ext>
            </a:extLst>
          </p:cNvPr>
          <p:cNvSpPr txBox="1"/>
          <p:nvPr/>
        </p:nvSpPr>
        <p:spPr>
          <a:xfrm>
            <a:off x="874713" y="318367"/>
            <a:ext cx="5817298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rrelation Detectiv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CDC9968-1315-4075-8CC2-B06A4141472E}"/>
              </a:ext>
            </a:extLst>
          </p:cNvPr>
          <p:cNvSpPr txBox="1"/>
          <p:nvPr/>
        </p:nvSpPr>
        <p:spPr>
          <a:xfrm>
            <a:off x="874713" y="1074167"/>
            <a:ext cx="20181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Generic sol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E7831A-3023-43B3-8EA5-BFD7964FA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pPr/>
              <a:t>9</a:t>
            </a:fld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39489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CFDCC81E8B894E922A1235B2A86D76" ma:contentTypeVersion="13" ma:contentTypeDescription="Create a new document." ma:contentTypeScope="" ma:versionID="2c6abe7737ce9dbe1cb3ca52573025bb">
  <xsd:schema xmlns:xsd="http://www.w3.org/2001/XMLSchema" xmlns:xs="http://www.w3.org/2001/XMLSchema" xmlns:p="http://schemas.microsoft.com/office/2006/metadata/properties" xmlns:ns3="95c69a58-dedf-4b0f-96a3-30befa183c82" xmlns:ns4="2506bdfe-a911-40f9-8965-f728809fb150" targetNamespace="http://schemas.microsoft.com/office/2006/metadata/properties" ma:root="true" ma:fieldsID="b116f7ad2de661e26e888eb6df6fe753" ns3:_="" ns4:_="">
    <xsd:import namespace="95c69a58-dedf-4b0f-96a3-30befa183c82"/>
    <xsd:import namespace="2506bdfe-a911-40f9-8965-f728809fb15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c69a58-dedf-4b0f-96a3-30befa183c8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6bdfe-a911-40f9-8965-f728809fb1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3CD7E0-7D41-49DF-96F8-F98EA65BE8F0}">
  <ds:schemaRefs>
    <ds:schemaRef ds:uri="2506bdfe-a911-40f9-8965-f728809fb150"/>
    <ds:schemaRef ds:uri="95c69a58-dedf-4b0f-96a3-30befa183c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21769A6-A2F4-4298-A499-B64BCD7B05F3}">
  <ds:schemaRefs>
    <ds:schemaRef ds:uri="2506bdfe-a911-40f9-8965-f728809fb150"/>
    <ds:schemaRef ds:uri="95c69a58-dedf-4b0f-96a3-30befa183c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27F628A-76B6-4666-8D11-CFDBE71C01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70</TotalTime>
  <Words>2100</Words>
  <Application>Microsoft Office PowerPoint</Application>
  <PresentationFormat>Widescreen</PresentationFormat>
  <Paragraphs>675</Paragraphs>
  <Slides>42</Slides>
  <Notes>3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9" baseType="lpstr">
      <vt:lpstr>Arial</vt:lpstr>
      <vt:lpstr>Calibri</vt:lpstr>
      <vt:lpstr>Calibri Light</vt:lpstr>
      <vt:lpstr>Cambria Math</vt:lpstr>
      <vt:lpstr>Century Gothic</vt:lpstr>
      <vt:lpstr>Raleway</vt:lpstr>
      <vt:lpstr>Kantoorthe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Jens d'Hondt</dc:creator>
  <cp:lastModifiedBy>d'Hondt, Jens</cp:lastModifiedBy>
  <cp:revision>30</cp:revision>
  <dcterms:created xsi:type="dcterms:W3CDTF">2019-06-12T13:24:29Z</dcterms:created>
  <dcterms:modified xsi:type="dcterms:W3CDTF">2023-03-22T10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CFDCC81E8B894E922A1235B2A86D76</vt:lpwstr>
  </property>
</Properties>
</file>